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8.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3.xml" ContentType="application/vnd.openxmlformats-officedocument.drawingml.chartshapes+xml"/>
  <Override PartName="/ppt/notesSlides/notesSlide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705" r:id="rId2"/>
    <p:sldMasterId id="2147483728" r:id="rId3"/>
    <p:sldMasterId id="2147483748" r:id="rId4"/>
  </p:sldMasterIdLst>
  <p:notesMasterIdLst>
    <p:notesMasterId r:id="rId26"/>
  </p:notesMasterIdLst>
  <p:handoutMasterIdLst>
    <p:handoutMasterId r:id="rId27"/>
  </p:handoutMasterIdLst>
  <p:sldIdLst>
    <p:sldId id="2141412823" r:id="rId5"/>
    <p:sldId id="2141412118" r:id="rId6"/>
    <p:sldId id="1636" r:id="rId7"/>
    <p:sldId id="1663" r:id="rId8"/>
    <p:sldId id="1523" r:id="rId9"/>
    <p:sldId id="2141412812" r:id="rId10"/>
    <p:sldId id="2141412798" r:id="rId11"/>
    <p:sldId id="2141412795" r:id="rId12"/>
    <p:sldId id="2141412791" r:id="rId13"/>
    <p:sldId id="2141412803" r:id="rId14"/>
    <p:sldId id="2141412810" r:id="rId15"/>
    <p:sldId id="2141412805" r:id="rId16"/>
    <p:sldId id="1664" r:id="rId17"/>
    <p:sldId id="1623" r:id="rId18"/>
    <p:sldId id="2141412794" r:id="rId19"/>
    <p:sldId id="1670" r:id="rId20"/>
    <p:sldId id="2141412822" r:id="rId21"/>
    <p:sldId id="258" r:id="rId22"/>
    <p:sldId id="2141412797" r:id="rId23"/>
    <p:sldId id="2141412813" r:id="rId24"/>
    <p:sldId id="2141412789" r:id="rId2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9" userDrawn="1">
          <p15:clr>
            <a:srgbClr val="A4A3A4"/>
          </p15:clr>
        </p15:guide>
        <p15:guide id="2" orient="horz" pos="331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73554AE-4609-3F47-74DF-539663E9224E}" name="Mary Lynn Pruenda" initials="MLP" userId="S::marylynn.pruneda@texas2036.org::3832a24f-6d29-46ac-b921-7b8dd19dc19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26851"/>
    <a:srgbClr val="082567"/>
    <a:srgbClr val="57267C"/>
    <a:srgbClr val="C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59"/>
    <p:restoredTop sz="81520"/>
  </p:normalViewPr>
  <p:slideViewPr>
    <p:cSldViewPr snapToGrid="0" snapToObjects="1">
      <p:cViewPr varScale="1">
        <p:scale>
          <a:sx n="95" d="100"/>
          <a:sy n="95" d="100"/>
        </p:scale>
        <p:origin x="5376" y="1936"/>
      </p:cViewPr>
      <p:guideLst>
        <p:guide pos="279"/>
        <p:guide orient="horz" pos="331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Users\marylynnpruneda\Downloads\ObservationData_tjnejyg.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Users\marylynnpruneda\Downloads\4th%20Grade%20Reading%20at%20Basic.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DMIN\Downloads\4th%20Grade%20Reading%20at%20Basic.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oleObject" Target="file:////Users\johnhryhorchuk\Downloads\report%20state.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Users/marylynnpruneda/Downloads/4th%20Grade%20Reading%20at%20Basic.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459078080903106E-2"/>
          <c:y val="3.4368803701255779E-2"/>
          <c:w val="0.95108184383819383"/>
          <c:h val="0.93126239259748844"/>
        </c:manualLayout>
      </c:layout>
      <c:barChart>
        <c:barDir val="col"/>
        <c:grouping val="stacked"/>
        <c:varyColors val="0"/>
        <c:ser>
          <c:idx val="0"/>
          <c:order val="0"/>
          <c:spPr>
            <a:solidFill>
              <a:srgbClr val="F26852"/>
            </a:solidFill>
            <a:ln>
              <a:noFill/>
            </a:ln>
          </c:spPr>
          <c:invertIfNegative val="0"/>
          <c:dLbls>
            <c:dLbl>
              <c:idx val="0"/>
              <c:layout>
                <c:manualLayout>
                  <c:x val="0"/>
                  <c:y val="2.6437541308658294E-3"/>
                </c:manualLayout>
              </c:layout>
              <c:numFmt formatCode="#,##0&quot;%&quot;;&quot;-&quot;#,##0&quot;%&quot;" sourceLinked="0"/>
              <c:spPr>
                <a:noFill/>
                <a:ln>
                  <a:noFill/>
                </a:ln>
              </c:spPr>
              <c:txPr>
                <a:bodyPr wrap="none"/>
                <a:lstStyle/>
                <a:p>
                  <a:pPr>
                    <a:defRPr sz="1600" b="1">
                      <a:solidFill>
                        <a:schemeClr val="bg1"/>
                      </a:solidFill>
                      <a:latin typeface="Segoe UI" panose="020B0502040204020203" pitchFamily="34" charset="0"/>
                      <a:ea typeface="+mn-ea"/>
                      <a:cs typeface="Segoe UI" panose="020B0502040204020203" pitchFamily="34" charset="0"/>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65-41EC-8C77-04E37CA3B4EF}"/>
                </c:ext>
              </c:extLst>
            </c:dLbl>
            <c:dLbl>
              <c:idx val="1"/>
              <c:layout>
                <c:manualLayout>
                  <c:x val="0"/>
                  <c:y val="1.9828155981493722E-3"/>
                </c:manualLayout>
              </c:layout>
              <c:numFmt formatCode="#,##0&quot;%&quot;;&quot;-&quot;#,##0&quot;%&quot;" sourceLinked="0"/>
              <c:spPr>
                <a:noFill/>
                <a:ln>
                  <a:noFill/>
                </a:ln>
              </c:spPr>
              <c:txPr>
                <a:bodyPr wrap="none"/>
                <a:lstStyle/>
                <a:p>
                  <a:pPr>
                    <a:defRPr sz="1600" b="1">
                      <a:solidFill>
                        <a:schemeClr val="bg1"/>
                      </a:solidFill>
                      <a:latin typeface="Segoe UI" panose="020B0502040204020203" pitchFamily="34" charset="0"/>
                      <a:ea typeface="+mn-ea"/>
                      <a:cs typeface="Segoe UI" panose="020B0502040204020203" pitchFamily="34" charset="0"/>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65-41EC-8C77-04E37CA3B4EF}"/>
                </c:ext>
              </c:extLst>
            </c:dLbl>
            <c:spPr>
              <a:noFill/>
              <a:ln>
                <a:noFill/>
              </a:ln>
              <a:effectLst/>
            </c:spPr>
            <c:txPr>
              <a:bodyPr wrap="square" lIns="38100" tIns="19050" rIns="38100" bIns="19050" anchor="ctr">
                <a:spAutoFit/>
              </a:bodyPr>
              <a:lstStyle/>
              <a:p>
                <a:pPr>
                  <a:defRPr b="1">
                    <a:latin typeface="Segoe UI" panose="020B0502040204020203" pitchFamily="34" charset="0"/>
                    <a:cs typeface="Segoe UI"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3.787101940555221</c:v>
                </c:pt>
                <c:pt idx="1">
                  <c:v>45.488790707400369</c:v>
                </c:pt>
              </c:numCache>
            </c:numRef>
          </c:val>
          <c:extLst>
            <c:ext xmlns:c16="http://schemas.microsoft.com/office/drawing/2014/chart" uri="{C3380CC4-5D6E-409C-BE32-E72D297353CC}">
              <c16:uniqueId val="{00000002-FF65-41EC-8C77-04E37CA3B4EF}"/>
            </c:ext>
          </c:extLst>
        </c:ser>
        <c:ser>
          <c:idx val="1"/>
          <c:order val="1"/>
          <c:spPr>
            <a:solidFill>
              <a:srgbClr val="082567"/>
            </a:solidFill>
            <a:ln>
              <a:noFill/>
            </a:ln>
          </c:spPr>
          <c:invertIfNegative val="0"/>
          <c:dLbls>
            <c:dLbl>
              <c:idx val="0"/>
              <c:layout>
                <c:manualLayout>
                  <c:x val="0"/>
                  <c:y val="2.6437541308658294E-3"/>
                </c:manualLayout>
              </c:layout>
              <c:numFmt formatCode="#,##0&quot;%&quot;;&quot;-&quot;#,##0&quot;%&quot;" sourceLinked="0"/>
              <c:spPr>
                <a:noFill/>
                <a:ln>
                  <a:noFill/>
                </a:ln>
              </c:spPr>
              <c:txPr>
                <a:bodyPr wrap="none"/>
                <a:lstStyle/>
                <a:p>
                  <a:pPr>
                    <a:defRPr sz="1600" b="1">
                      <a:solidFill>
                        <a:schemeClr val="bg1"/>
                      </a:solidFill>
                      <a:latin typeface="Segoe UI" panose="020B0502040204020203" pitchFamily="34" charset="0"/>
                      <a:ea typeface="+mn-ea"/>
                      <a:cs typeface="Segoe UI" panose="020B0502040204020203" pitchFamily="34" charset="0"/>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65-41EC-8C77-04E37CA3B4EF}"/>
                </c:ext>
              </c:extLst>
            </c:dLbl>
            <c:dLbl>
              <c:idx val="1"/>
              <c:layout>
                <c:manualLayout>
                  <c:x val="0"/>
                  <c:y val="1.9828155981493722E-3"/>
                </c:manualLayout>
              </c:layout>
              <c:numFmt formatCode="#,##0&quot;%&quot;;&quot;-&quot;#,##0&quot;%&quot;" sourceLinked="0"/>
              <c:spPr>
                <a:noFill/>
                <a:ln>
                  <a:noFill/>
                </a:ln>
              </c:spPr>
              <c:txPr>
                <a:bodyPr wrap="none"/>
                <a:lstStyle/>
                <a:p>
                  <a:pPr>
                    <a:defRPr sz="1600" b="1">
                      <a:solidFill>
                        <a:schemeClr val="bg1"/>
                      </a:solidFill>
                      <a:latin typeface="Segoe UI" panose="020B0502040204020203" pitchFamily="34" charset="0"/>
                      <a:ea typeface="+mn-ea"/>
                      <a:cs typeface="Segoe UI" panose="020B0502040204020203" pitchFamily="34" charset="0"/>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65-41EC-8C77-04E37CA3B4EF}"/>
                </c:ext>
              </c:extLst>
            </c:dLbl>
            <c:spPr>
              <a:noFill/>
              <a:ln>
                <a:noFill/>
              </a:ln>
              <a:effectLst/>
            </c:spPr>
            <c:txPr>
              <a:bodyPr wrap="square" lIns="38100" tIns="19050" rIns="38100" bIns="19050" anchor="ctr">
                <a:spAutoFit/>
              </a:bodyPr>
              <a:lstStyle/>
              <a:p>
                <a:pPr>
                  <a:defRPr b="1">
                    <a:latin typeface="Segoe UI" panose="020B0502040204020203" pitchFamily="34" charset="0"/>
                    <a:cs typeface="Segoe UI"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40.528115155024999</c:v>
                </c:pt>
                <c:pt idx="1">
                  <c:v>25.624519929166219</c:v>
                </c:pt>
              </c:numCache>
            </c:numRef>
          </c:val>
          <c:extLst>
            <c:ext xmlns:c16="http://schemas.microsoft.com/office/drawing/2014/chart" uri="{C3380CC4-5D6E-409C-BE32-E72D297353CC}">
              <c16:uniqueId val="{00000005-FF65-41EC-8C77-04E37CA3B4EF}"/>
            </c:ext>
          </c:extLst>
        </c:ser>
        <c:ser>
          <c:idx val="2"/>
          <c:order val="2"/>
          <c:spPr>
            <a:solidFill>
              <a:srgbClr val="00B0F0"/>
            </a:solidFill>
            <a:ln>
              <a:noFill/>
            </a:ln>
          </c:spPr>
          <c:invertIfNegative val="0"/>
          <c:dLbls>
            <c:dLbl>
              <c:idx val="0"/>
              <c:layout>
                <c:manualLayout>
                  <c:x val="0"/>
                  <c:y val="2.6437541308658294E-3"/>
                </c:manualLayout>
              </c:layout>
              <c:numFmt formatCode="#,##0&quot;%&quot;;&quot;-&quot;#,##0&quot;%&quot;" sourceLinked="0"/>
              <c:spPr>
                <a:noFill/>
                <a:ln>
                  <a:noFill/>
                </a:ln>
              </c:spPr>
              <c:txPr>
                <a:bodyPr wrap="none"/>
                <a:lstStyle/>
                <a:p>
                  <a:pPr>
                    <a:defRPr sz="1600" b="1">
                      <a:solidFill>
                        <a:schemeClr val="bg1"/>
                      </a:solidFill>
                      <a:latin typeface="Segoe UI" panose="020B0502040204020203" pitchFamily="34" charset="0"/>
                      <a:ea typeface="+mn-ea"/>
                      <a:cs typeface="Segoe UI" panose="020B0502040204020203" pitchFamily="34" charset="0"/>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F65-41EC-8C77-04E37CA3B4EF}"/>
                </c:ext>
              </c:extLst>
            </c:dLbl>
            <c:dLbl>
              <c:idx val="1"/>
              <c:layout>
                <c:manualLayout>
                  <c:x val="0"/>
                  <c:y val="1.9828155981493722E-3"/>
                </c:manualLayout>
              </c:layout>
              <c:numFmt formatCode="#,##0&quot;%&quot;;&quot;-&quot;#,##0&quot;%&quot;" sourceLinked="0"/>
              <c:spPr>
                <a:noFill/>
                <a:ln>
                  <a:noFill/>
                </a:ln>
              </c:spPr>
              <c:txPr>
                <a:bodyPr wrap="none"/>
                <a:lstStyle/>
                <a:p>
                  <a:pPr>
                    <a:defRPr sz="1600" b="1">
                      <a:solidFill>
                        <a:schemeClr val="bg1"/>
                      </a:solidFill>
                      <a:latin typeface="Segoe UI" panose="020B0502040204020203" pitchFamily="34" charset="0"/>
                      <a:ea typeface="+mn-ea"/>
                      <a:cs typeface="Segoe UI" panose="020B0502040204020203" pitchFamily="34" charset="0"/>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F65-41EC-8C77-04E37CA3B4EF}"/>
                </c:ext>
              </c:extLst>
            </c:dLbl>
            <c:spPr>
              <a:noFill/>
              <a:ln>
                <a:noFill/>
              </a:ln>
              <a:effectLst/>
            </c:spPr>
            <c:txPr>
              <a:bodyPr wrap="square" lIns="38100" tIns="19050" rIns="38100" bIns="19050" anchor="ctr">
                <a:spAutoFit/>
              </a:bodyPr>
              <a:lstStyle/>
              <a:p>
                <a:pPr>
                  <a:defRPr b="1">
                    <a:latin typeface="Segoe UI" panose="020B0502040204020203" pitchFamily="34" charset="0"/>
                    <a:cs typeface="Segoe UI" panose="020B050204020402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5.684782904419713</c:v>
                </c:pt>
                <c:pt idx="1">
                  <c:v>28.886689363433415</c:v>
                </c:pt>
              </c:numCache>
            </c:numRef>
          </c:val>
          <c:extLst>
            <c:ext xmlns:c16="http://schemas.microsoft.com/office/drawing/2014/chart" uri="{C3380CC4-5D6E-409C-BE32-E72D297353CC}">
              <c16:uniqueId val="{00000008-FF65-41EC-8C77-04E37CA3B4EF}"/>
            </c:ext>
          </c:extLst>
        </c:ser>
        <c:dLbls>
          <c:showLegendKey val="0"/>
          <c:showVal val="0"/>
          <c:showCatName val="0"/>
          <c:showSerName val="0"/>
          <c:showPercent val="0"/>
          <c:showBubbleSize val="0"/>
        </c:dLbls>
        <c:gapWidth val="60"/>
        <c:overlap val="100"/>
        <c:axId val="1254394704"/>
        <c:axId val="1"/>
      </c:barChart>
      <c:catAx>
        <c:axId val="1254394704"/>
        <c:scaling>
          <c:orientation val="minMax"/>
        </c:scaling>
        <c:delete val="0"/>
        <c:axPos val="b"/>
        <c:majorGridlines>
          <c:spPr>
            <a:ln>
              <a:noFill/>
            </a:ln>
          </c:spPr>
        </c:majorGridlines>
        <c:majorTickMark val="none"/>
        <c:minorTickMark val="none"/>
        <c:tickLblPos val="none"/>
        <c:spPr>
          <a:ln w="9525" algn="ctr">
            <a:solidFill>
              <a:srgbClr val="B1B3B3"/>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25439470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b="1" dirty="0">
                <a:solidFill>
                  <a:schemeClr val="tx1"/>
                </a:solidFill>
                <a:latin typeface="Segoe UI" panose="020B0502040204020203" pitchFamily="34" charset="0"/>
              </a:rPr>
              <a:t>Texas 4</a:t>
            </a:r>
            <a:r>
              <a:rPr lang="en-US" b="1" baseline="30000" dirty="0">
                <a:solidFill>
                  <a:schemeClr val="tx1"/>
                </a:solidFill>
                <a:latin typeface="Segoe UI" panose="020B0502040204020203" pitchFamily="34" charset="0"/>
              </a:rPr>
              <a:t>th</a:t>
            </a:r>
            <a:r>
              <a:rPr lang="en-US" b="1" dirty="0">
                <a:solidFill>
                  <a:schemeClr val="tx1"/>
                </a:solidFill>
                <a:latin typeface="Segoe UI" panose="020B0502040204020203" pitchFamily="34" charset="0"/>
              </a:rPr>
              <a:t> Grade Reading Scores</a:t>
            </a:r>
            <a:r>
              <a:rPr lang="en-US" b="1" baseline="0" dirty="0">
                <a:solidFill>
                  <a:schemeClr val="tx1"/>
                </a:solidFill>
                <a:latin typeface="Segoe UI" panose="020B0502040204020203" pitchFamily="34" charset="0"/>
              </a:rPr>
              <a:t> on NAEP, 1992 – 2002 </a:t>
            </a:r>
            <a:endParaRPr lang="en-US" b="1" dirty="0">
              <a:solidFill>
                <a:schemeClr val="tx1"/>
              </a:solidFill>
              <a:latin typeface="Segoe UI" panose="020B0502040204020203" pitchFamily="34" charset="0"/>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ObservationData!$K$1:$N$1</c:f>
              <c:strCache>
                <c:ptCount val="4"/>
                <c:pt idx="0">
                  <c:v>1992</c:v>
                </c:pt>
                <c:pt idx="1">
                  <c:v>1994</c:v>
                </c:pt>
                <c:pt idx="2">
                  <c:v>1998</c:v>
                </c:pt>
                <c:pt idx="3">
                  <c:v>2002</c:v>
                </c:pt>
              </c:strCache>
            </c:strRef>
          </c:cat>
          <c:val>
            <c:numRef>
              <c:f>ObservationData!$K$2:$N$2</c:f>
              <c:numCache>
                <c:formatCode>General</c:formatCode>
                <c:ptCount val="4"/>
                <c:pt idx="0">
                  <c:v>212.5</c:v>
                </c:pt>
                <c:pt idx="1">
                  <c:v>212.39</c:v>
                </c:pt>
                <c:pt idx="2">
                  <c:v>214.15</c:v>
                </c:pt>
                <c:pt idx="3">
                  <c:v>216.93</c:v>
                </c:pt>
              </c:numCache>
            </c:numRef>
          </c:val>
          <c:smooth val="0"/>
          <c:extLst>
            <c:ext xmlns:c16="http://schemas.microsoft.com/office/drawing/2014/chart" uri="{C3380CC4-5D6E-409C-BE32-E72D297353CC}">
              <c16:uniqueId val="{00000000-9051-AC45-9234-49B59B490015}"/>
            </c:ext>
          </c:extLst>
        </c:ser>
        <c:dLbls>
          <c:showLegendKey val="0"/>
          <c:showVal val="0"/>
          <c:showCatName val="0"/>
          <c:showSerName val="0"/>
          <c:showPercent val="0"/>
          <c:showBubbleSize val="0"/>
        </c:dLbls>
        <c:smooth val="0"/>
        <c:axId val="846070351"/>
        <c:axId val="846071999"/>
      </c:lineChart>
      <c:catAx>
        <c:axId val="8460703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j-lt"/>
                <a:ea typeface="+mn-ea"/>
                <a:cs typeface="+mn-cs"/>
              </a:defRPr>
            </a:pPr>
            <a:endParaRPr lang="en-US"/>
          </a:p>
        </c:txPr>
        <c:crossAx val="846071999"/>
        <c:crosses val="autoZero"/>
        <c:auto val="1"/>
        <c:lblAlgn val="ctr"/>
        <c:lblOffset val="100"/>
        <c:noMultiLvlLbl val="0"/>
      </c:catAx>
      <c:valAx>
        <c:axId val="8460719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j-lt"/>
                <a:ea typeface="+mn-ea"/>
                <a:cs typeface="+mn-cs"/>
              </a:defRPr>
            </a:pPr>
            <a:endParaRPr lang="en-US"/>
          </a:p>
        </c:txPr>
        <c:crossAx val="8460703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204882592800899E-2"/>
          <c:y val="0.10161931118544167"/>
          <c:w val="0.81331227151293584"/>
          <c:h val="0.78267563572450916"/>
        </c:manualLayout>
      </c:layout>
      <c:lineChart>
        <c:grouping val="standard"/>
        <c:varyColors val="0"/>
        <c:ser>
          <c:idx val="0"/>
          <c:order val="0"/>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0-166C-7940-9817-3247DEB35612}"/>
            </c:ext>
          </c:extLst>
        </c:ser>
        <c:ser>
          <c:idx val="1"/>
          <c:order val="1"/>
          <c:tx>
            <c:strRef>
              <c:f>'ObservationData (3)'!#REF!</c:f>
              <c:strCache>
                <c:ptCount val="1"/>
                <c:pt idx="0">
                  <c:v>#REF!</c:v>
                </c:pt>
              </c:strCache>
            </c:strRef>
          </c:tx>
          <c:spPr>
            <a:ln w="28575" cap="rnd">
              <a:solidFill>
                <a:schemeClr val="bg2"/>
              </a:solidFill>
              <a:round/>
            </a:ln>
            <a:effectLst/>
          </c:spPr>
          <c:marker>
            <c:symbol val="circle"/>
            <c:size val="5"/>
            <c:spPr>
              <a:noFill/>
              <a:ln w="9525">
                <a:noFill/>
              </a:ln>
              <a:effectLst/>
            </c:spPr>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1-166C-7940-9817-3247DEB35612}"/>
            </c:ext>
          </c:extLst>
        </c:ser>
        <c:ser>
          <c:idx val="2"/>
          <c:order val="2"/>
          <c:tx>
            <c:strRef>
              <c:f>'ObservationData (3)'!#REF!</c:f>
              <c:strCache>
                <c:ptCount val="1"/>
                <c:pt idx="0">
                  <c:v>#REF!</c:v>
                </c:pt>
              </c:strCache>
            </c:strRef>
          </c:tx>
          <c:spPr>
            <a:ln w="28575" cap="rnd">
              <a:solidFill>
                <a:schemeClr val="bg2"/>
              </a:solidFill>
              <a:round/>
            </a:ln>
            <a:effectLst/>
          </c:spPr>
          <c:marker>
            <c:symbol val="circle"/>
            <c:size val="5"/>
            <c:spPr>
              <a:noFill/>
              <a:ln w="9525">
                <a:noFill/>
              </a:ln>
              <a:effectLst/>
            </c:spPr>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2-166C-7940-9817-3247DEB35612}"/>
            </c:ext>
          </c:extLst>
        </c:ser>
        <c:ser>
          <c:idx val="3"/>
          <c:order val="3"/>
          <c:tx>
            <c:strRef>
              <c:f>'ObservationData (3)'!#REF!</c:f>
              <c:strCache>
                <c:ptCount val="1"/>
                <c:pt idx="0">
                  <c:v>#REF!</c:v>
                </c:pt>
              </c:strCache>
            </c:strRef>
          </c:tx>
          <c:spPr>
            <a:ln w="28575" cap="rnd">
              <a:solidFill>
                <a:schemeClr val="bg2"/>
              </a:solidFill>
              <a:round/>
            </a:ln>
            <a:effectLst/>
          </c:spPr>
          <c:marker>
            <c:symbol val="circle"/>
            <c:size val="5"/>
            <c:spPr>
              <a:noFill/>
              <a:ln w="9525">
                <a:noFill/>
              </a:ln>
              <a:effectLst/>
            </c:spPr>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3-166C-7940-9817-3247DEB35612}"/>
            </c:ext>
          </c:extLst>
        </c:ser>
        <c:ser>
          <c:idx val="4"/>
          <c:order val="4"/>
          <c:tx>
            <c:strRef>
              <c:f>'Peer States NAEP Data '!$C$2</c:f>
              <c:strCache>
                <c:ptCount val="1"/>
                <c:pt idx="0">
                  <c:v>California</c:v>
                </c:pt>
              </c:strCache>
            </c:strRef>
          </c:tx>
          <c:spPr>
            <a:ln w="28575" cap="rnd">
              <a:solidFill>
                <a:srgbClr val="7030A0"/>
              </a:solidFill>
              <a:round/>
            </a:ln>
            <a:effectLst/>
          </c:spPr>
          <c:marker>
            <c:symbol val="circle"/>
            <c:size val="5"/>
            <c:spPr>
              <a:noFill/>
              <a:ln w="9525">
                <a:noFill/>
              </a:ln>
              <a:effectLst/>
            </c:spPr>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2:$Q$2</c:f>
              <c:numCache>
                <c:formatCode>General</c:formatCode>
                <c:ptCount val="9"/>
                <c:pt idx="0">
                  <c:v>49.56</c:v>
                </c:pt>
                <c:pt idx="1">
                  <c:v>49.99</c:v>
                </c:pt>
                <c:pt idx="2">
                  <c:v>53.17</c:v>
                </c:pt>
                <c:pt idx="3">
                  <c:v>53.94</c:v>
                </c:pt>
                <c:pt idx="4">
                  <c:v>56.37</c:v>
                </c:pt>
                <c:pt idx="5">
                  <c:v>58.19</c:v>
                </c:pt>
                <c:pt idx="6">
                  <c:v>58.62</c:v>
                </c:pt>
                <c:pt idx="7">
                  <c:v>60.99</c:v>
                </c:pt>
                <c:pt idx="8">
                  <c:v>62.55</c:v>
                </c:pt>
              </c:numCache>
            </c:numRef>
          </c:val>
          <c:smooth val="0"/>
          <c:extLst>
            <c:ext xmlns:c16="http://schemas.microsoft.com/office/drawing/2014/chart" uri="{C3380CC4-5D6E-409C-BE32-E72D297353CC}">
              <c16:uniqueId val="{00000004-166C-7940-9817-3247DEB35612}"/>
            </c:ext>
          </c:extLst>
        </c:ser>
        <c:ser>
          <c:idx val="5"/>
          <c:order val="5"/>
          <c:tx>
            <c:strRef>
              <c:f>'Peer States NAEP Data '!$C$3</c:f>
              <c:strCache>
                <c:ptCount val="1"/>
                <c:pt idx="0">
                  <c:v>Florida</c:v>
                </c:pt>
              </c:strCache>
            </c:strRef>
          </c:tx>
          <c:spPr>
            <a:ln w="28575" cap="rnd">
              <a:solidFill>
                <a:schemeClr val="accent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3:$Q$3</c:f>
              <c:numCache>
                <c:formatCode>General</c:formatCode>
                <c:ptCount val="9"/>
                <c:pt idx="0">
                  <c:v>62.78</c:v>
                </c:pt>
                <c:pt idx="1">
                  <c:v>64.760000000000005</c:v>
                </c:pt>
                <c:pt idx="2">
                  <c:v>70.430000000000007</c:v>
                </c:pt>
                <c:pt idx="3">
                  <c:v>73.14</c:v>
                </c:pt>
                <c:pt idx="4">
                  <c:v>71.180000000000007</c:v>
                </c:pt>
                <c:pt idx="5">
                  <c:v>74.989999999999995</c:v>
                </c:pt>
                <c:pt idx="6">
                  <c:v>74.540000000000006</c:v>
                </c:pt>
                <c:pt idx="7">
                  <c:v>74.540000000000006</c:v>
                </c:pt>
                <c:pt idx="8">
                  <c:v>70.28</c:v>
                </c:pt>
              </c:numCache>
            </c:numRef>
          </c:val>
          <c:smooth val="0"/>
          <c:extLst>
            <c:ext xmlns:c16="http://schemas.microsoft.com/office/drawing/2014/chart" uri="{C3380CC4-5D6E-409C-BE32-E72D297353CC}">
              <c16:uniqueId val="{00000005-166C-7940-9817-3247DEB35612}"/>
            </c:ext>
          </c:extLst>
        </c:ser>
        <c:ser>
          <c:idx val="6"/>
          <c:order val="6"/>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6-166C-7940-9817-3247DEB35612}"/>
            </c:ext>
          </c:extLst>
        </c:ser>
        <c:ser>
          <c:idx val="7"/>
          <c:order val="7"/>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7-166C-7940-9817-3247DEB35612}"/>
            </c:ext>
          </c:extLst>
        </c:ser>
        <c:ser>
          <c:idx val="8"/>
          <c:order val="8"/>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8-166C-7940-9817-3247DEB35612}"/>
            </c:ext>
          </c:extLst>
        </c:ser>
        <c:ser>
          <c:idx val="9"/>
          <c:order val="9"/>
          <c:tx>
            <c:strRef>
              <c:f>'Peer States NAEP Data '!$C$4</c:f>
              <c:strCache>
                <c:ptCount val="1"/>
                <c:pt idx="0">
                  <c:v>Georgia</c:v>
                </c:pt>
              </c:strCache>
            </c:strRef>
          </c:tx>
          <c:spPr>
            <a:ln w="28575" cap="rnd">
              <a:solidFill>
                <a:srgbClr val="CC139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4:$Q$4</c:f>
              <c:numCache>
                <c:formatCode>General</c:formatCode>
                <c:ptCount val="9"/>
                <c:pt idx="0">
                  <c:v>58.89</c:v>
                </c:pt>
                <c:pt idx="1">
                  <c:v>58.29</c:v>
                </c:pt>
                <c:pt idx="2">
                  <c:v>65.56</c:v>
                </c:pt>
                <c:pt idx="3">
                  <c:v>62.81</c:v>
                </c:pt>
                <c:pt idx="4">
                  <c:v>66.209999999999994</c:v>
                </c:pt>
                <c:pt idx="5">
                  <c:v>66.98</c:v>
                </c:pt>
                <c:pt idx="6">
                  <c:v>68.069999999999993</c:v>
                </c:pt>
                <c:pt idx="7">
                  <c:v>65.930000000000007</c:v>
                </c:pt>
                <c:pt idx="8">
                  <c:v>63.34</c:v>
                </c:pt>
              </c:numCache>
            </c:numRef>
          </c:val>
          <c:smooth val="0"/>
          <c:extLst>
            <c:ext xmlns:c16="http://schemas.microsoft.com/office/drawing/2014/chart" uri="{C3380CC4-5D6E-409C-BE32-E72D297353CC}">
              <c16:uniqueId val="{00000009-166C-7940-9817-3247DEB35612}"/>
            </c:ext>
          </c:extLst>
        </c:ser>
        <c:ser>
          <c:idx val="10"/>
          <c:order val="10"/>
          <c:tx>
            <c:strRef>
              <c:f>'Peer States NAEP Data '!$C$5</c:f>
              <c:strCache>
                <c:ptCount val="1"/>
                <c:pt idx="0">
                  <c:v>Pennsylvania</c:v>
                </c:pt>
              </c:strCache>
            </c:strRef>
          </c:tx>
          <c:spPr>
            <a:ln w="28575" cap="rnd">
              <a:solidFill>
                <a:srgbClr val="C08DE9"/>
              </a:solidFill>
              <a:round/>
            </a:ln>
            <a:effectLst>
              <a:glow>
                <a:schemeClr val="bg1"/>
              </a:glow>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5:$Q$5</c:f>
              <c:numCache>
                <c:formatCode>General</c:formatCode>
                <c:ptCount val="9"/>
                <c:pt idx="0">
                  <c:v>64.87</c:v>
                </c:pt>
                <c:pt idx="1">
                  <c:v>68.62</c:v>
                </c:pt>
                <c:pt idx="2">
                  <c:v>72.650000000000006</c:v>
                </c:pt>
                <c:pt idx="3">
                  <c:v>69.62</c:v>
                </c:pt>
                <c:pt idx="4">
                  <c:v>73.709999999999994</c:v>
                </c:pt>
                <c:pt idx="5">
                  <c:v>73.41</c:v>
                </c:pt>
                <c:pt idx="6">
                  <c:v>73.62</c:v>
                </c:pt>
                <c:pt idx="7">
                  <c:v>71.42</c:v>
                </c:pt>
                <c:pt idx="8">
                  <c:v>68.400000000000006</c:v>
                </c:pt>
              </c:numCache>
            </c:numRef>
          </c:val>
          <c:smooth val="0"/>
          <c:extLst>
            <c:ext xmlns:c16="http://schemas.microsoft.com/office/drawing/2014/chart" uri="{C3380CC4-5D6E-409C-BE32-E72D297353CC}">
              <c16:uniqueId val="{0000000A-166C-7940-9817-3247DEB35612}"/>
            </c:ext>
          </c:extLst>
        </c:ser>
        <c:ser>
          <c:idx val="11"/>
          <c:order val="11"/>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B-166C-7940-9817-3247DEB35612}"/>
            </c:ext>
          </c:extLst>
        </c:ser>
        <c:ser>
          <c:idx val="12"/>
          <c:order val="12"/>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C-166C-7940-9817-3247DEB35612}"/>
            </c:ext>
          </c:extLst>
        </c:ser>
        <c:ser>
          <c:idx val="13"/>
          <c:order val="13"/>
          <c:tx>
            <c:strRef>
              <c:f>'Peer States NAEP Data '!$C$6</c:f>
              <c:strCache>
                <c:ptCount val="1"/>
                <c:pt idx="0">
                  <c:v>Illinois</c:v>
                </c:pt>
              </c:strCache>
            </c:strRef>
          </c:tx>
          <c:spPr>
            <a:ln w="28575" cap="rnd">
              <a:solidFill>
                <a:schemeClr val="accent6">
                  <a:lumMod val="75000"/>
                </a:schemeClr>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6:$Q$6</c:f>
              <c:numCache>
                <c:formatCode>General</c:formatCode>
                <c:ptCount val="9"/>
                <c:pt idx="0">
                  <c:v>61.24</c:v>
                </c:pt>
                <c:pt idx="1">
                  <c:v>62.22</c:v>
                </c:pt>
                <c:pt idx="2">
                  <c:v>65.05</c:v>
                </c:pt>
                <c:pt idx="3">
                  <c:v>64.67</c:v>
                </c:pt>
                <c:pt idx="4">
                  <c:v>65.28</c:v>
                </c:pt>
                <c:pt idx="5">
                  <c:v>64.48</c:v>
                </c:pt>
                <c:pt idx="6">
                  <c:v>68.099999999999994</c:v>
                </c:pt>
                <c:pt idx="7">
                  <c:v>65.58</c:v>
                </c:pt>
                <c:pt idx="8">
                  <c:v>64.41</c:v>
                </c:pt>
              </c:numCache>
            </c:numRef>
          </c:val>
          <c:smooth val="0"/>
          <c:extLst>
            <c:ext xmlns:c16="http://schemas.microsoft.com/office/drawing/2014/chart" uri="{C3380CC4-5D6E-409C-BE32-E72D297353CC}">
              <c16:uniqueId val="{0000000D-166C-7940-9817-3247DEB35612}"/>
            </c:ext>
          </c:extLst>
        </c:ser>
        <c:ser>
          <c:idx val="14"/>
          <c:order val="14"/>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E-166C-7940-9817-3247DEB35612}"/>
            </c:ext>
          </c:extLst>
        </c:ser>
        <c:ser>
          <c:idx val="15"/>
          <c:order val="15"/>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0F-166C-7940-9817-3247DEB35612}"/>
            </c:ext>
          </c:extLst>
        </c:ser>
        <c:ser>
          <c:idx val="16"/>
          <c:order val="16"/>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0-166C-7940-9817-3247DEB35612}"/>
            </c:ext>
          </c:extLst>
        </c:ser>
        <c:ser>
          <c:idx val="17"/>
          <c:order val="17"/>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1-166C-7940-9817-3247DEB35612}"/>
            </c:ext>
          </c:extLst>
        </c:ser>
        <c:ser>
          <c:idx val="18"/>
          <c:order val="18"/>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2-166C-7940-9817-3247DEB35612}"/>
            </c:ext>
          </c:extLst>
        </c:ser>
        <c:ser>
          <c:idx val="19"/>
          <c:order val="19"/>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3-166C-7940-9817-3247DEB35612}"/>
            </c:ext>
          </c:extLst>
        </c:ser>
        <c:ser>
          <c:idx val="20"/>
          <c:order val="20"/>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4-166C-7940-9817-3247DEB35612}"/>
            </c:ext>
          </c:extLst>
        </c:ser>
        <c:ser>
          <c:idx val="21"/>
          <c:order val="21"/>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5-166C-7940-9817-3247DEB35612}"/>
            </c:ext>
          </c:extLst>
        </c:ser>
        <c:ser>
          <c:idx val="22"/>
          <c:order val="22"/>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6-166C-7940-9817-3247DEB35612}"/>
            </c:ext>
          </c:extLst>
        </c:ser>
        <c:ser>
          <c:idx val="23"/>
          <c:order val="23"/>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7-166C-7940-9817-3247DEB35612}"/>
            </c:ext>
          </c:extLst>
        </c:ser>
        <c:ser>
          <c:idx val="24"/>
          <c:order val="24"/>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8-166C-7940-9817-3247DEB35612}"/>
            </c:ext>
          </c:extLst>
        </c:ser>
        <c:ser>
          <c:idx val="25"/>
          <c:order val="25"/>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9-166C-7940-9817-3247DEB35612}"/>
            </c:ext>
          </c:extLst>
        </c:ser>
        <c:ser>
          <c:idx val="26"/>
          <c:order val="26"/>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A-166C-7940-9817-3247DEB35612}"/>
            </c:ext>
          </c:extLst>
        </c:ser>
        <c:ser>
          <c:idx val="27"/>
          <c:order val="27"/>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B-166C-7940-9817-3247DEB35612}"/>
            </c:ext>
          </c:extLst>
        </c:ser>
        <c:ser>
          <c:idx val="28"/>
          <c:order val="28"/>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C-166C-7940-9817-3247DEB35612}"/>
            </c:ext>
          </c:extLst>
        </c:ser>
        <c:ser>
          <c:idx val="29"/>
          <c:order val="29"/>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D-166C-7940-9817-3247DEB35612}"/>
            </c:ext>
          </c:extLst>
        </c:ser>
        <c:ser>
          <c:idx val="30"/>
          <c:order val="30"/>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E-166C-7940-9817-3247DEB35612}"/>
            </c:ext>
          </c:extLst>
        </c:ser>
        <c:ser>
          <c:idx val="31"/>
          <c:order val="31"/>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1F-166C-7940-9817-3247DEB35612}"/>
            </c:ext>
          </c:extLst>
        </c:ser>
        <c:ser>
          <c:idx val="32"/>
          <c:order val="32"/>
          <c:tx>
            <c:strRef>
              <c:f>'Peer States NAEP Data '!$C$7</c:f>
              <c:strCache>
                <c:ptCount val="1"/>
                <c:pt idx="0">
                  <c:v>Texas</c:v>
                </c:pt>
              </c:strCache>
            </c:strRef>
          </c:tx>
          <c:spPr>
            <a:ln w="69850" cap="rnd">
              <a:solidFill>
                <a:srgbClr val="082567"/>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7:$Q$7</c:f>
              <c:numCache>
                <c:formatCode>General</c:formatCode>
                <c:ptCount val="9"/>
                <c:pt idx="0">
                  <c:v>59.02</c:v>
                </c:pt>
                <c:pt idx="1">
                  <c:v>63.94</c:v>
                </c:pt>
                <c:pt idx="2">
                  <c:v>65.78</c:v>
                </c:pt>
                <c:pt idx="3">
                  <c:v>64.599999999999994</c:v>
                </c:pt>
                <c:pt idx="4">
                  <c:v>63.9</c:v>
                </c:pt>
                <c:pt idx="5">
                  <c:v>62.69</c:v>
                </c:pt>
                <c:pt idx="6">
                  <c:v>64.03</c:v>
                </c:pt>
                <c:pt idx="7">
                  <c:v>60.5</c:v>
                </c:pt>
                <c:pt idx="8">
                  <c:v>61.25</c:v>
                </c:pt>
              </c:numCache>
            </c:numRef>
          </c:val>
          <c:smooth val="0"/>
          <c:extLst>
            <c:ext xmlns:c16="http://schemas.microsoft.com/office/drawing/2014/chart" uri="{C3380CC4-5D6E-409C-BE32-E72D297353CC}">
              <c16:uniqueId val="{00000020-166C-7940-9817-3247DEB35612}"/>
            </c:ext>
          </c:extLst>
        </c:ser>
        <c:ser>
          <c:idx val="33"/>
          <c:order val="33"/>
          <c:tx>
            <c:strRef>
              <c:f>'Peer States NAEP Data '!$C$8</c:f>
              <c:strCache>
                <c:ptCount val="1"/>
                <c:pt idx="0">
                  <c:v>Colorado</c:v>
                </c:pt>
              </c:strCache>
            </c:strRef>
          </c:tx>
          <c:spPr>
            <a:ln w="28575" cap="rnd">
              <a:solidFill>
                <a:schemeClr val="accent4"/>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8:$Q$8</c:f>
              <c:numCache>
                <c:formatCode>General</c:formatCode>
                <c:ptCount val="9"/>
                <c:pt idx="0">
                  <c:v>69.400000000000006</c:v>
                </c:pt>
                <c:pt idx="1">
                  <c:v>69.489999999999995</c:v>
                </c:pt>
                <c:pt idx="2">
                  <c:v>69.98</c:v>
                </c:pt>
                <c:pt idx="3">
                  <c:v>72.03</c:v>
                </c:pt>
                <c:pt idx="4">
                  <c:v>70.680000000000007</c:v>
                </c:pt>
                <c:pt idx="5">
                  <c:v>74.099999999999994</c:v>
                </c:pt>
                <c:pt idx="6">
                  <c:v>70.61</c:v>
                </c:pt>
                <c:pt idx="7">
                  <c:v>70.63</c:v>
                </c:pt>
                <c:pt idx="8">
                  <c:v>70.8</c:v>
                </c:pt>
              </c:numCache>
            </c:numRef>
          </c:val>
          <c:smooth val="0"/>
          <c:extLst>
            <c:ext xmlns:c16="http://schemas.microsoft.com/office/drawing/2014/chart" uri="{C3380CC4-5D6E-409C-BE32-E72D297353CC}">
              <c16:uniqueId val="{00000021-166C-7940-9817-3247DEB35612}"/>
            </c:ext>
          </c:extLst>
        </c:ser>
        <c:ser>
          <c:idx val="34"/>
          <c:order val="34"/>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22-166C-7940-9817-3247DEB35612}"/>
            </c:ext>
          </c:extLst>
        </c:ser>
        <c:ser>
          <c:idx val="35"/>
          <c:order val="35"/>
          <c:tx>
            <c:strRef>
              <c:f>'Peer States NAEP Data '!$C$9</c:f>
              <c:strCache>
                <c:ptCount val="1"/>
                <c:pt idx="0">
                  <c:v>North Carolina</c:v>
                </c:pt>
              </c:strCache>
            </c:strRef>
          </c:tx>
          <c:spPr>
            <a:ln w="28575" cap="rnd">
              <a:solidFill>
                <a:schemeClr val="accent2">
                  <a:lumMod val="40000"/>
                  <a:lumOff val="60000"/>
                </a:schemeClr>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9:$Q$9</c:f>
              <c:numCache>
                <c:formatCode>General</c:formatCode>
                <c:ptCount val="9"/>
                <c:pt idx="0">
                  <c:v>65.59</c:v>
                </c:pt>
                <c:pt idx="1">
                  <c:v>61.5</c:v>
                </c:pt>
                <c:pt idx="2">
                  <c:v>63.93</c:v>
                </c:pt>
                <c:pt idx="3">
                  <c:v>65.209999999999994</c:v>
                </c:pt>
                <c:pt idx="4">
                  <c:v>68.11</c:v>
                </c:pt>
                <c:pt idx="5">
                  <c:v>69.069999999999993</c:v>
                </c:pt>
                <c:pt idx="6">
                  <c:v>72.56</c:v>
                </c:pt>
                <c:pt idx="7">
                  <c:v>69.2</c:v>
                </c:pt>
                <c:pt idx="8">
                  <c:v>66.84</c:v>
                </c:pt>
              </c:numCache>
            </c:numRef>
          </c:val>
          <c:smooth val="0"/>
          <c:extLst>
            <c:ext xmlns:c16="http://schemas.microsoft.com/office/drawing/2014/chart" uri="{C3380CC4-5D6E-409C-BE32-E72D297353CC}">
              <c16:uniqueId val="{00000023-166C-7940-9817-3247DEB35612}"/>
            </c:ext>
          </c:extLst>
        </c:ser>
        <c:ser>
          <c:idx val="36"/>
          <c:order val="36"/>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24-166C-7940-9817-3247DEB35612}"/>
            </c:ext>
          </c:extLst>
        </c:ser>
        <c:ser>
          <c:idx val="37"/>
          <c:order val="37"/>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25-166C-7940-9817-3247DEB35612}"/>
            </c:ext>
          </c:extLst>
        </c:ser>
        <c:ser>
          <c:idx val="38"/>
          <c:order val="38"/>
          <c:tx>
            <c:strRef>
              <c:f>'Peer States NAEP Data '!$C$10</c:f>
              <c:strCache>
                <c:ptCount val="1"/>
                <c:pt idx="0">
                  <c:v>Virginia</c:v>
                </c:pt>
              </c:strCache>
            </c:strRef>
          </c:tx>
          <c:spPr>
            <a:ln w="28575" cap="rnd">
              <a:solidFill>
                <a:schemeClr val="accent2">
                  <a:lumMod val="60000"/>
                  <a:lumOff val="40000"/>
                </a:schemeClr>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10:$Q$10</c:f>
              <c:numCache>
                <c:formatCode>General</c:formatCode>
                <c:ptCount val="9"/>
                <c:pt idx="0">
                  <c:v>68.67</c:v>
                </c:pt>
                <c:pt idx="1">
                  <c:v>71.87</c:v>
                </c:pt>
                <c:pt idx="2">
                  <c:v>74.42</c:v>
                </c:pt>
                <c:pt idx="3">
                  <c:v>73.72</c:v>
                </c:pt>
                <c:pt idx="4">
                  <c:v>72.16</c:v>
                </c:pt>
                <c:pt idx="5">
                  <c:v>74.14</c:v>
                </c:pt>
                <c:pt idx="6">
                  <c:v>73.86</c:v>
                </c:pt>
                <c:pt idx="7">
                  <c:v>74.010000000000005</c:v>
                </c:pt>
                <c:pt idx="8">
                  <c:v>68.97</c:v>
                </c:pt>
              </c:numCache>
            </c:numRef>
          </c:val>
          <c:smooth val="0"/>
          <c:extLst>
            <c:ext xmlns:c16="http://schemas.microsoft.com/office/drawing/2014/chart" uri="{C3380CC4-5D6E-409C-BE32-E72D297353CC}">
              <c16:uniqueId val="{00000026-166C-7940-9817-3247DEB35612}"/>
            </c:ext>
          </c:extLst>
        </c:ser>
        <c:ser>
          <c:idx val="39"/>
          <c:order val="39"/>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27-166C-7940-9817-3247DEB35612}"/>
            </c:ext>
          </c:extLst>
        </c:ser>
        <c:ser>
          <c:idx val="40"/>
          <c:order val="40"/>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28-166C-7940-9817-3247DEB35612}"/>
            </c:ext>
          </c:extLst>
        </c:ser>
        <c:ser>
          <c:idx val="41"/>
          <c:order val="41"/>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29-166C-7940-9817-3247DEB35612}"/>
            </c:ext>
          </c:extLst>
        </c:ser>
        <c:ser>
          <c:idx val="42"/>
          <c:order val="42"/>
          <c:tx>
            <c:strRef>
              <c:f>'ObservationData (3)'!#REF!</c:f>
              <c:strCache>
                <c:ptCount val="1"/>
                <c:pt idx="0">
                  <c:v>#REF!</c:v>
                </c:pt>
              </c:strCache>
            </c:strRef>
          </c:tx>
          <c:spPr>
            <a:ln w="28575" cap="rnd">
              <a:solidFill>
                <a:schemeClr val="accent6">
                  <a:lumMod val="60000"/>
                  <a:lumOff val="40000"/>
                </a:schemeClr>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2A-166C-7940-9817-3247DEB35612}"/>
            </c:ext>
          </c:extLst>
        </c:ser>
        <c:ser>
          <c:idx val="43"/>
          <c:order val="43"/>
          <c:tx>
            <c:strRef>
              <c:f>'Peer States NAEP Data '!$C$11</c:f>
              <c:strCache>
                <c:ptCount val="1"/>
                <c:pt idx="0">
                  <c:v>Ohio</c:v>
                </c:pt>
              </c:strCache>
            </c:strRef>
          </c:tx>
          <c:spPr>
            <a:ln w="28575" cap="rnd">
              <a:solidFill>
                <a:schemeClr val="accent1">
                  <a:lumMod val="75000"/>
                </a:schemeClr>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11:$Q$11</c:f>
              <c:numCache>
                <c:formatCode>General</c:formatCode>
                <c:ptCount val="9"/>
                <c:pt idx="0">
                  <c:v>68.569999999999993</c:v>
                </c:pt>
                <c:pt idx="1">
                  <c:v>68.69</c:v>
                </c:pt>
                <c:pt idx="2">
                  <c:v>73.319999999999993</c:v>
                </c:pt>
                <c:pt idx="3">
                  <c:v>70.97</c:v>
                </c:pt>
                <c:pt idx="4">
                  <c:v>71.349999999999994</c:v>
                </c:pt>
                <c:pt idx="5">
                  <c:v>70.650000000000006</c:v>
                </c:pt>
                <c:pt idx="6">
                  <c:v>72.28</c:v>
                </c:pt>
                <c:pt idx="7">
                  <c:v>71.34</c:v>
                </c:pt>
                <c:pt idx="8">
                  <c:v>68.349999999999994</c:v>
                </c:pt>
              </c:numCache>
            </c:numRef>
          </c:val>
          <c:smooth val="0"/>
          <c:extLst>
            <c:ext xmlns:c16="http://schemas.microsoft.com/office/drawing/2014/chart" uri="{C3380CC4-5D6E-409C-BE32-E72D297353CC}">
              <c16:uniqueId val="{0000002B-166C-7940-9817-3247DEB35612}"/>
            </c:ext>
          </c:extLst>
        </c:ser>
        <c:ser>
          <c:idx val="44"/>
          <c:order val="44"/>
          <c:tx>
            <c:strRef>
              <c:f>ObservationData!#REF!</c:f>
              <c:strCache>
                <c:ptCount val="1"/>
                <c:pt idx="0">
                  <c:v>#REF!</c:v>
                </c:pt>
              </c:strCache>
            </c:strRef>
          </c:tx>
          <c:spPr>
            <a:ln w="28575" cap="rnd">
              <a:solidFill>
                <a:schemeClr val="bg1"/>
              </a:solidFill>
              <a:round/>
            </a:ln>
            <a:effectLst>
              <a:glow rad="127000">
                <a:schemeClr val="bg1"/>
              </a:glow>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REF!</c:f>
              <c:numCache>
                <c:formatCode>General</c:formatCode>
                <c:ptCount val="1"/>
                <c:pt idx="0">
                  <c:v>1</c:v>
                </c:pt>
              </c:numCache>
            </c:numRef>
          </c:val>
          <c:smooth val="0"/>
          <c:extLst>
            <c:ext xmlns:c16="http://schemas.microsoft.com/office/drawing/2014/chart" uri="{C3380CC4-5D6E-409C-BE32-E72D297353CC}">
              <c16:uniqueId val="{0000002C-166C-7940-9817-3247DEB35612}"/>
            </c:ext>
          </c:extLst>
        </c:ser>
        <c:ser>
          <c:idx val="45"/>
          <c:order val="45"/>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2D-166C-7940-9817-3247DEB35612}"/>
            </c:ext>
          </c:extLst>
        </c:ser>
        <c:ser>
          <c:idx val="46"/>
          <c:order val="46"/>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2E-166C-7940-9817-3247DEB35612}"/>
            </c:ext>
          </c:extLst>
        </c:ser>
        <c:ser>
          <c:idx val="47"/>
          <c:order val="47"/>
          <c:tx>
            <c:strRef>
              <c:f>'Peer States NAEP Data '!$C$12</c:f>
              <c:strCache>
                <c:ptCount val="1"/>
                <c:pt idx="0">
                  <c:v>New York</c:v>
                </c:pt>
              </c:strCache>
            </c:strRef>
          </c:tx>
          <c:spPr>
            <a:ln w="28575" cap="rnd">
              <a:solidFill>
                <a:schemeClr val="accent5"/>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12:$Q$12</c:f>
              <c:numCache>
                <c:formatCode>General</c:formatCode>
                <c:ptCount val="9"/>
                <c:pt idx="0">
                  <c:v>67.22</c:v>
                </c:pt>
                <c:pt idx="1">
                  <c:v>68.95</c:v>
                </c:pt>
                <c:pt idx="2">
                  <c:v>69.349999999999994</c:v>
                </c:pt>
                <c:pt idx="3">
                  <c:v>70.56</c:v>
                </c:pt>
                <c:pt idx="4">
                  <c:v>68.36</c:v>
                </c:pt>
                <c:pt idx="5">
                  <c:v>70.16</c:v>
                </c:pt>
                <c:pt idx="6">
                  <c:v>68.430000000000007</c:v>
                </c:pt>
                <c:pt idx="7">
                  <c:v>67.98</c:v>
                </c:pt>
                <c:pt idx="8">
                  <c:v>65.53</c:v>
                </c:pt>
              </c:numCache>
            </c:numRef>
          </c:val>
          <c:smooth val="0"/>
          <c:extLst>
            <c:ext xmlns:c16="http://schemas.microsoft.com/office/drawing/2014/chart" uri="{C3380CC4-5D6E-409C-BE32-E72D297353CC}">
              <c16:uniqueId val="{0000002F-166C-7940-9817-3247DEB35612}"/>
            </c:ext>
          </c:extLst>
        </c:ser>
        <c:ser>
          <c:idx val="48"/>
          <c:order val="48"/>
          <c:tx>
            <c:strRef>
              <c:f>'Peer States NAEP Data '!$C$13</c:f>
              <c:strCache>
                <c:ptCount val="1"/>
                <c:pt idx="0">
                  <c:v>Washington</c:v>
                </c:pt>
              </c:strCache>
            </c:strRef>
          </c:tx>
          <c:spPr>
            <a:ln w="28575" cap="rnd">
              <a:solidFill>
                <a:schemeClr val="accent1"/>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Peer States NAEP Data '!$I$13:$Q$13</c:f>
              <c:numCache>
                <c:formatCode>General</c:formatCode>
                <c:ptCount val="9"/>
                <c:pt idx="0">
                  <c:v>67.23</c:v>
                </c:pt>
                <c:pt idx="1">
                  <c:v>69.91</c:v>
                </c:pt>
                <c:pt idx="2">
                  <c:v>70.33</c:v>
                </c:pt>
                <c:pt idx="3">
                  <c:v>67.87</c:v>
                </c:pt>
                <c:pt idx="4">
                  <c:v>66.819999999999993</c:v>
                </c:pt>
                <c:pt idx="5">
                  <c:v>72.31</c:v>
                </c:pt>
                <c:pt idx="6">
                  <c:v>70.569999999999993</c:v>
                </c:pt>
                <c:pt idx="7">
                  <c:v>67.69</c:v>
                </c:pt>
                <c:pt idx="8">
                  <c:v>65.03</c:v>
                </c:pt>
              </c:numCache>
            </c:numRef>
          </c:val>
          <c:smooth val="0"/>
          <c:extLst>
            <c:ext xmlns:c16="http://schemas.microsoft.com/office/drawing/2014/chart" uri="{C3380CC4-5D6E-409C-BE32-E72D297353CC}">
              <c16:uniqueId val="{00000030-166C-7940-9817-3247DEB35612}"/>
            </c:ext>
          </c:extLst>
        </c:ser>
        <c:ser>
          <c:idx val="49"/>
          <c:order val="49"/>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31-166C-7940-9817-3247DEB35612}"/>
            </c:ext>
          </c:extLst>
        </c:ser>
        <c:ser>
          <c:idx val="50"/>
          <c:order val="50"/>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32-166C-7940-9817-3247DEB35612}"/>
            </c:ext>
          </c:extLst>
        </c:ser>
        <c:ser>
          <c:idx val="51"/>
          <c:order val="51"/>
          <c:tx>
            <c:strRef>
              <c:f>'ObservationData (3)'!#REF!</c:f>
              <c:strCache>
                <c:ptCount val="1"/>
                <c:pt idx="0">
                  <c:v>#REF!</c:v>
                </c:pt>
              </c:strCache>
            </c:strRef>
          </c:tx>
          <c:spPr>
            <a:ln w="28575" cap="rnd">
              <a:solidFill>
                <a:schemeClr val="bg2"/>
              </a:solidFill>
              <a:round/>
            </a:ln>
            <a:effectLst/>
          </c:spPr>
          <c:marker>
            <c:symbol val="none"/>
          </c:marker>
          <c:cat>
            <c:strRef>
              <c:f>'Peer States NAEP Data '!$I$1:$Q$1</c:f>
              <c:strCache>
                <c:ptCount val="9"/>
                <c:pt idx="0">
                  <c:v>2003</c:v>
                </c:pt>
                <c:pt idx="1">
                  <c:v>2005</c:v>
                </c:pt>
                <c:pt idx="2">
                  <c:v>2007</c:v>
                </c:pt>
                <c:pt idx="3">
                  <c:v>2009</c:v>
                </c:pt>
                <c:pt idx="4">
                  <c:v>2011</c:v>
                </c:pt>
                <c:pt idx="5">
                  <c:v>2013</c:v>
                </c:pt>
                <c:pt idx="6">
                  <c:v>2015</c:v>
                </c:pt>
                <c:pt idx="7">
                  <c:v>2017</c:v>
                </c:pt>
                <c:pt idx="8">
                  <c:v>2019</c:v>
                </c:pt>
              </c:strCache>
            </c:strRef>
          </c:cat>
          <c:val>
            <c:numRef>
              <c:f>'ObservationData (3)'!#REF!</c:f>
              <c:numCache>
                <c:formatCode>General</c:formatCode>
                <c:ptCount val="1"/>
                <c:pt idx="0">
                  <c:v>1</c:v>
                </c:pt>
              </c:numCache>
            </c:numRef>
          </c:val>
          <c:smooth val="0"/>
          <c:extLst>
            <c:ext xmlns:c16="http://schemas.microsoft.com/office/drawing/2014/chart" uri="{C3380CC4-5D6E-409C-BE32-E72D297353CC}">
              <c16:uniqueId val="{00000033-166C-7940-9817-3247DEB35612}"/>
            </c:ext>
          </c:extLst>
        </c:ser>
        <c:dLbls>
          <c:showLegendKey val="0"/>
          <c:showVal val="0"/>
          <c:showCatName val="0"/>
          <c:showSerName val="0"/>
          <c:showPercent val="0"/>
          <c:showBubbleSize val="0"/>
        </c:dLbls>
        <c:smooth val="0"/>
        <c:axId val="2098937984"/>
        <c:axId val="2098956464"/>
      </c:lineChart>
      <c:catAx>
        <c:axId val="2098937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crossAx val="2098956464"/>
        <c:crosses val="autoZero"/>
        <c:auto val="1"/>
        <c:lblAlgn val="ctr"/>
        <c:lblOffset val="100"/>
        <c:noMultiLvlLbl val="0"/>
      </c:catAx>
      <c:valAx>
        <c:axId val="2098956464"/>
        <c:scaling>
          <c:orientation val="minMax"/>
          <c:max val="100"/>
          <c:min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crossAx val="2098937984"/>
        <c:crosses val="autoZero"/>
        <c:crossBetween val="between"/>
      </c:valAx>
      <c:spPr>
        <a:noFill/>
        <a:ln>
          <a:noFill/>
        </a:ln>
        <a:effectLst/>
      </c:spPr>
    </c:plotArea>
    <c:legend>
      <c:legendPos val="b"/>
      <c:legendEntry>
        <c:idx val="0"/>
        <c:delete val="1"/>
      </c:legendEntry>
      <c:legendEntry>
        <c:idx val="1"/>
        <c:delete val="1"/>
      </c:legendEntry>
      <c:legendEntry>
        <c:idx val="2"/>
        <c:delete val="1"/>
      </c:legendEntry>
      <c:legendEntry>
        <c:idx val="3"/>
        <c:delete val="1"/>
      </c:legendEntry>
      <c:legendEntry>
        <c:idx val="6"/>
        <c:delete val="1"/>
      </c:legendEntry>
      <c:legendEntry>
        <c:idx val="7"/>
        <c:delete val="1"/>
      </c:legendEntry>
      <c:legendEntry>
        <c:idx val="8"/>
        <c:delete val="1"/>
      </c:legendEntry>
      <c:legendEntry>
        <c:idx val="11"/>
        <c:delete val="1"/>
      </c:legendEntry>
      <c:legendEntry>
        <c:idx val="12"/>
        <c:delete val="1"/>
      </c:legendEntry>
      <c:legendEntry>
        <c:idx val="14"/>
        <c:delete val="1"/>
      </c:legendEntry>
      <c:legendEntry>
        <c:idx val="15"/>
        <c:delete val="1"/>
      </c:legendEntry>
      <c:legendEntry>
        <c:idx val="16"/>
        <c:delete val="1"/>
      </c:legendEntry>
      <c:legendEntry>
        <c:idx val="17"/>
        <c:delete val="1"/>
      </c:legendEntry>
      <c:legendEntry>
        <c:idx val="18"/>
        <c:delete val="1"/>
      </c:legendEntry>
      <c:legendEntry>
        <c:idx val="19"/>
        <c:delete val="1"/>
      </c:legendEntry>
      <c:legendEntry>
        <c:idx val="20"/>
        <c:delete val="1"/>
      </c:legendEntry>
      <c:legendEntry>
        <c:idx val="21"/>
        <c:delete val="1"/>
      </c:legendEntry>
      <c:legendEntry>
        <c:idx val="22"/>
        <c:delete val="1"/>
      </c:legendEntry>
      <c:legendEntry>
        <c:idx val="23"/>
        <c:delete val="1"/>
      </c:legendEntry>
      <c:legendEntry>
        <c:idx val="24"/>
        <c:delete val="1"/>
      </c:legendEntry>
      <c:legendEntry>
        <c:idx val="25"/>
        <c:delete val="1"/>
      </c:legendEntry>
      <c:legendEntry>
        <c:idx val="26"/>
        <c:delete val="1"/>
      </c:legendEntry>
      <c:legendEntry>
        <c:idx val="27"/>
        <c:delete val="1"/>
      </c:legendEntry>
      <c:legendEntry>
        <c:idx val="28"/>
        <c:delete val="1"/>
      </c:legendEntry>
      <c:legendEntry>
        <c:idx val="29"/>
        <c:delete val="1"/>
      </c:legendEntry>
      <c:legendEntry>
        <c:idx val="30"/>
        <c:delete val="1"/>
      </c:legendEntry>
      <c:legendEntry>
        <c:idx val="31"/>
        <c:delete val="1"/>
      </c:legendEntry>
      <c:legendEntry>
        <c:idx val="34"/>
        <c:delete val="1"/>
      </c:legendEntry>
      <c:legendEntry>
        <c:idx val="36"/>
        <c:delete val="1"/>
      </c:legendEntry>
      <c:legendEntry>
        <c:idx val="37"/>
        <c:delete val="1"/>
      </c:legendEntry>
      <c:legendEntry>
        <c:idx val="39"/>
        <c:delete val="1"/>
      </c:legendEntry>
      <c:legendEntry>
        <c:idx val="40"/>
        <c:delete val="1"/>
      </c:legendEntry>
      <c:legendEntry>
        <c:idx val="41"/>
        <c:delete val="1"/>
      </c:legendEntry>
      <c:legendEntry>
        <c:idx val="42"/>
        <c:delete val="1"/>
      </c:legendEntry>
      <c:legendEntry>
        <c:idx val="44"/>
        <c:delete val="1"/>
      </c:legendEntry>
      <c:legendEntry>
        <c:idx val="45"/>
        <c:delete val="1"/>
      </c:legendEntry>
      <c:legendEntry>
        <c:idx val="46"/>
        <c:delete val="1"/>
      </c:legendEntry>
      <c:legendEntry>
        <c:idx val="49"/>
        <c:delete val="1"/>
      </c:legendEntry>
      <c:legendEntry>
        <c:idx val="50"/>
        <c:delete val="1"/>
      </c:legendEntry>
      <c:legendEntry>
        <c:idx val="51"/>
        <c:delete val="1"/>
      </c:legendEntry>
      <c:layout>
        <c:manualLayout>
          <c:xMode val="edge"/>
          <c:yMode val="edge"/>
          <c:x val="0.85628708520809904"/>
          <c:y val="8.0192677015073627E-2"/>
          <c:w val="0.10618778121484815"/>
          <c:h val="0.3698222985093908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j-lt"/>
                <a:ea typeface="+mn-ea"/>
                <a:cs typeface="+mn-cs"/>
              </a:defRPr>
            </a:pPr>
            <a:r>
              <a:rPr lang="en-US" b="1" dirty="0">
                <a:latin typeface="Segoe UI" panose="020B0502040204020203" pitchFamily="34" charset="0"/>
              </a:rPr>
              <a:t>% Change in Number of 4</a:t>
            </a:r>
            <a:r>
              <a:rPr lang="en-US" b="1" baseline="30000" dirty="0">
                <a:latin typeface="Segoe UI" panose="020B0502040204020203" pitchFamily="34" charset="0"/>
              </a:rPr>
              <a:t>th</a:t>
            </a:r>
            <a:r>
              <a:rPr lang="en-US" b="1" baseline="0" dirty="0">
                <a:latin typeface="Segoe UI" panose="020B0502040204020203" pitchFamily="34" charset="0"/>
              </a:rPr>
              <a:t> Graders at Basic Proficiency in Reading </a:t>
            </a:r>
            <a:r>
              <a:rPr lang="en-US" b="1" dirty="0">
                <a:latin typeface="Segoe UI" panose="020B0502040204020203" pitchFamily="34" charset="0"/>
              </a:rPr>
              <a:t>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j-lt"/>
              <a:ea typeface="+mn-ea"/>
              <a:cs typeface="+mn-cs"/>
            </a:defRPr>
          </a:pPr>
          <a:endParaRPr lang="en-US"/>
        </a:p>
      </c:txPr>
    </c:title>
    <c:autoTitleDeleted val="0"/>
    <c:plotArea>
      <c:layout>
        <c:manualLayout>
          <c:layoutTarget val="inner"/>
          <c:xMode val="edge"/>
          <c:yMode val="edge"/>
          <c:x val="8.4750030296862192E-2"/>
          <c:y val="1.5918704394992864E-2"/>
          <c:w val="0.88957768934543302"/>
          <c:h val="0.92425597805521287"/>
        </c:manualLayout>
      </c:layout>
      <c:barChart>
        <c:barDir val="bar"/>
        <c:grouping val="clustered"/>
        <c:varyColors val="0"/>
        <c:ser>
          <c:idx val="0"/>
          <c:order val="0"/>
          <c:tx>
            <c:strRef>
              <c:f>'Peer States NAEP Data '!$R$1</c:f>
              <c:strCache>
                <c:ptCount val="1"/>
                <c:pt idx="0">
                  <c:v>% Change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er States NAEP Data '!$C$2:$C$13</c:f>
              <c:strCache>
                <c:ptCount val="12"/>
                <c:pt idx="0">
                  <c:v>California</c:v>
                </c:pt>
                <c:pt idx="1">
                  <c:v>Florida</c:v>
                </c:pt>
                <c:pt idx="2">
                  <c:v>Georgia</c:v>
                </c:pt>
                <c:pt idx="3">
                  <c:v>Pennsylvania</c:v>
                </c:pt>
                <c:pt idx="4">
                  <c:v>Illinois</c:v>
                </c:pt>
                <c:pt idx="5">
                  <c:v>Texas</c:v>
                </c:pt>
                <c:pt idx="6">
                  <c:v>Colorado</c:v>
                </c:pt>
                <c:pt idx="7">
                  <c:v>North Carolina</c:v>
                </c:pt>
                <c:pt idx="8">
                  <c:v>Virginia</c:v>
                </c:pt>
                <c:pt idx="9">
                  <c:v>Ohio</c:v>
                </c:pt>
                <c:pt idx="10">
                  <c:v>New York</c:v>
                </c:pt>
                <c:pt idx="11">
                  <c:v>Washington</c:v>
                </c:pt>
              </c:strCache>
            </c:strRef>
          </c:cat>
          <c:val>
            <c:numRef>
              <c:f>'Peer States NAEP Data '!$R$2:$R$13</c:f>
              <c:numCache>
                <c:formatCode>0.00%</c:formatCode>
                <c:ptCount val="12"/>
                <c:pt idx="0">
                  <c:v>0.26210653753026625</c:v>
                </c:pt>
                <c:pt idx="1">
                  <c:v>0.11946479770627588</c:v>
                </c:pt>
                <c:pt idx="2">
                  <c:v>7.5564611988453101E-2</c:v>
                </c:pt>
                <c:pt idx="3">
                  <c:v>5.4416525358409143E-2</c:v>
                </c:pt>
                <c:pt idx="4">
                  <c:v>5.176355323318084E-2</c:v>
                </c:pt>
                <c:pt idx="5">
                  <c:v>3.7783802100982665E-2</c:v>
                </c:pt>
                <c:pt idx="6">
                  <c:v>2.0172910662824083E-2</c:v>
                </c:pt>
                <c:pt idx="7">
                  <c:v>1.9057783198658331E-2</c:v>
                </c:pt>
                <c:pt idx="8">
                  <c:v>4.3687199650501987E-3</c:v>
                </c:pt>
                <c:pt idx="9">
                  <c:v>-3.2084001750036298E-3</c:v>
                </c:pt>
                <c:pt idx="10">
                  <c:v>-2.5141326986016035E-2</c:v>
                </c:pt>
                <c:pt idx="11">
                  <c:v>-3.2723486538747626E-2</c:v>
                </c:pt>
              </c:numCache>
            </c:numRef>
          </c:val>
          <c:extLst>
            <c:ext xmlns:c16="http://schemas.microsoft.com/office/drawing/2014/chart" uri="{C3380CC4-5D6E-409C-BE32-E72D297353CC}">
              <c16:uniqueId val="{00000000-4CF4-41A0-AEF5-BE85F1A231AC}"/>
            </c:ext>
          </c:extLst>
        </c:ser>
        <c:dLbls>
          <c:showLegendKey val="0"/>
          <c:showVal val="0"/>
          <c:showCatName val="0"/>
          <c:showSerName val="0"/>
          <c:showPercent val="0"/>
          <c:showBubbleSize val="0"/>
        </c:dLbls>
        <c:gapWidth val="100"/>
        <c:axId val="1816078607"/>
        <c:axId val="1816080255"/>
      </c:barChart>
      <c:catAx>
        <c:axId val="181607860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816080255"/>
        <c:crosses val="autoZero"/>
        <c:auto val="1"/>
        <c:lblAlgn val="ctr"/>
        <c:lblOffset val="1000"/>
        <c:noMultiLvlLbl val="0"/>
      </c:catAx>
      <c:valAx>
        <c:axId val="1816080255"/>
        <c:scaling>
          <c:orientation val="minMax"/>
        </c:scaling>
        <c:delete val="0"/>
        <c:axPos val="b"/>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en-US"/>
          </a:p>
        </c:txPr>
        <c:crossAx val="18160786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eport state'!$M$59</c:f>
              <c:strCache>
                <c:ptCount val="1"/>
                <c:pt idx="0">
                  <c:v>2019</c:v>
                </c:pt>
              </c:strCache>
            </c:strRef>
          </c:tx>
          <c:spPr>
            <a:solidFill>
              <a:srgbClr val="082567"/>
            </a:solidFill>
            <a:ln>
              <a:noFill/>
            </a:ln>
            <a:effectLst/>
          </c:spPr>
          <c:invertIfNegative val="0"/>
          <c:dLbls>
            <c:dLbl>
              <c:idx val="0"/>
              <c:layout>
                <c:manualLayout>
                  <c:x val="0"/>
                  <c:y val="0.1122522900135122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51-4C2F-8457-133E8BD4BD27}"/>
                </c:ext>
              </c:extLst>
            </c:dLbl>
            <c:dLbl>
              <c:idx val="2"/>
              <c:layout>
                <c:manualLayout>
                  <c:x val="0"/>
                  <c:y val="0.1291479580314113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51-4C2F-8457-133E8BD4BD27}"/>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report state'!$L$60:$L$62</c:f>
              <c:strCache>
                <c:ptCount val="3"/>
                <c:pt idx="0">
                  <c:v>2022's 6th Grade - Meets Grade Level</c:v>
                </c:pt>
                <c:pt idx="1">
                  <c:v>2022's 7th Grade - Meets Grade Level</c:v>
                </c:pt>
                <c:pt idx="2">
                  <c:v>2022's 8th Grade - Meets Grade Level</c:v>
                </c:pt>
              </c:strCache>
            </c:strRef>
          </c:cat>
          <c:val>
            <c:numRef>
              <c:f>'report state'!$M$60:$M$62</c:f>
              <c:numCache>
                <c:formatCode>0%</c:formatCode>
                <c:ptCount val="3"/>
                <c:pt idx="0">
                  <c:v>0.48</c:v>
                </c:pt>
                <c:pt idx="1">
                  <c:v>0.46</c:v>
                </c:pt>
                <c:pt idx="2">
                  <c:v>0.56000000000000005</c:v>
                </c:pt>
              </c:numCache>
            </c:numRef>
          </c:val>
          <c:extLst>
            <c:ext xmlns:c16="http://schemas.microsoft.com/office/drawing/2014/chart" uri="{C3380CC4-5D6E-409C-BE32-E72D297353CC}">
              <c16:uniqueId val="{00000000-AA9C-5547-8DAE-F32FF824B570}"/>
            </c:ext>
          </c:extLst>
        </c:ser>
        <c:ser>
          <c:idx val="1"/>
          <c:order val="1"/>
          <c:tx>
            <c:strRef>
              <c:f>'report state'!$N$59</c:f>
              <c:strCache>
                <c:ptCount val="1"/>
                <c:pt idx="0">
                  <c:v>2021</c:v>
                </c:pt>
              </c:strCache>
            </c:strRef>
          </c:tx>
          <c:spPr>
            <a:solidFill>
              <a:srgbClr val="F26852"/>
            </a:solidFill>
            <a:ln>
              <a:noFill/>
            </a:ln>
            <a:effectLst/>
          </c:spPr>
          <c:invertIfNegative val="0"/>
          <c:dLbls>
            <c:dLbl>
              <c:idx val="0"/>
              <c:layout>
                <c:manualLayout>
                  <c:x val="-2.1728146084060959E-17"/>
                  <c:y val="0.1244057257036552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51-4C2F-8457-133E8BD4BD27}"/>
                </c:ext>
              </c:extLst>
            </c:dLbl>
            <c:dLbl>
              <c:idx val="1"/>
              <c:layout>
                <c:manualLayout>
                  <c:x val="-8.6912584336243837E-17"/>
                  <c:y val="0.1152906489360479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351-4C2F-8457-133E8BD4BD27}"/>
                </c:ext>
              </c:extLst>
            </c:dLbl>
            <c:dLbl>
              <c:idx val="2"/>
              <c:layout>
                <c:manualLayout>
                  <c:x val="-1.7382516867248767E-16"/>
                  <c:y val="0.109213931090976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51-4C2F-8457-133E8BD4BD27}"/>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report state'!$L$60:$L$62</c:f>
              <c:strCache>
                <c:ptCount val="3"/>
                <c:pt idx="0">
                  <c:v>2022's 6th Grade - Meets Grade Level</c:v>
                </c:pt>
                <c:pt idx="1">
                  <c:v>2022's 7th Grade - Meets Grade Level</c:v>
                </c:pt>
                <c:pt idx="2">
                  <c:v>2022's 8th Grade - Meets Grade Level</c:v>
                </c:pt>
              </c:strCache>
            </c:strRef>
          </c:cat>
          <c:val>
            <c:numRef>
              <c:f>'report state'!$N$60:$N$62</c:f>
              <c:numCache>
                <c:formatCode>0%</c:formatCode>
                <c:ptCount val="3"/>
                <c:pt idx="0">
                  <c:v>0.43</c:v>
                </c:pt>
                <c:pt idx="1">
                  <c:v>0.34</c:v>
                </c:pt>
                <c:pt idx="2">
                  <c:v>0.25</c:v>
                </c:pt>
              </c:numCache>
            </c:numRef>
          </c:val>
          <c:extLst>
            <c:ext xmlns:c16="http://schemas.microsoft.com/office/drawing/2014/chart" uri="{C3380CC4-5D6E-409C-BE32-E72D297353CC}">
              <c16:uniqueId val="{00000001-AA9C-5547-8DAE-F32FF824B570}"/>
            </c:ext>
          </c:extLst>
        </c:ser>
        <c:ser>
          <c:idx val="2"/>
          <c:order val="2"/>
          <c:tx>
            <c:strRef>
              <c:f>'report state'!$O$59</c:f>
              <c:strCache>
                <c:ptCount val="1"/>
                <c:pt idx="0">
                  <c:v>2022</c:v>
                </c:pt>
              </c:strCache>
            </c:strRef>
          </c:tx>
          <c:spPr>
            <a:solidFill>
              <a:srgbClr val="0096D0"/>
            </a:solidFill>
            <a:ln>
              <a:noFill/>
            </a:ln>
            <a:effectLst/>
          </c:spPr>
          <c:invertIfNegative val="0"/>
          <c:dLbls>
            <c:dLbl>
              <c:idx val="0"/>
              <c:layout>
                <c:manualLayout>
                  <c:x val="0"/>
                  <c:y val="0.109213931090976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351-4C2F-8457-133E8BD4BD27}"/>
                </c:ext>
              </c:extLst>
            </c:dLbl>
            <c:dLbl>
              <c:idx val="1"/>
              <c:layout>
                <c:manualLayout>
                  <c:x val="0"/>
                  <c:y val="0.1152906489360480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351-4C2F-8457-133E8BD4BD27}"/>
                </c:ext>
              </c:extLst>
            </c:dLbl>
            <c:dLbl>
              <c:idx val="2"/>
              <c:layout>
                <c:manualLayout>
                  <c:x val="0"/>
                  <c:y val="0.1193467384772032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51-4C2F-8457-133E8BD4BD27}"/>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report state'!$L$60:$L$62</c:f>
              <c:strCache>
                <c:ptCount val="3"/>
                <c:pt idx="0">
                  <c:v>2022's 6th Grade - Meets Grade Level</c:v>
                </c:pt>
                <c:pt idx="1">
                  <c:v>2022's 7th Grade - Meets Grade Level</c:v>
                </c:pt>
                <c:pt idx="2">
                  <c:v>2022's 8th Grade - Meets Grade Level</c:v>
                </c:pt>
              </c:strCache>
            </c:strRef>
          </c:cat>
          <c:val>
            <c:numRef>
              <c:f>'report state'!$O$60:$O$62</c:f>
              <c:numCache>
                <c:formatCode>0%</c:formatCode>
                <c:ptCount val="3"/>
                <c:pt idx="0">
                  <c:v>0.37</c:v>
                </c:pt>
                <c:pt idx="1">
                  <c:v>0.28999999999999998</c:v>
                </c:pt>
                <c:pt idx="2">
                  <c:v>0.38</c:v>
                </c:pt>
              </c:numCache>
            </c:numRef>
          </c:val>
          <c:extLst>
            <c:ext xmlns:c16="http://schemas.microsoft.com/office/drawing/2014/chart" uri="{C3380CC4-5D6E-409C-BE32-E72D297353CC}">
              <c16:uniqueId val="{00000002-AA9C-5547-8DAE-F32FF824B570}"/>
            </c:ext>
          </c:extLst>
        </c:ser>
        <c:dLbls>
          <c:showLegendKey val="0"/>
          <c:showVal val="0"/>
          <c:showCatName val="0"/>
          <c:showSerName val="0"/>
          <c:showPercent val="0"/>
          <c:showBubbleSize val="0"/>
        </c:dLbls>
        <c:gapWidth val="100"/>
        <c:overlap val="-24"/>
        <c:axId val="956614831"/>
        <c:axId val="956621471"/>
      </c:barChart>
      <c:catAx>
        <c:axId val="956614831"/>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t" anchorCtr="1"/>
          <a:lstStyle/>
          <a:p>
            <a:pPr>
              <a:defRPr sz="11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crossAx val="956621471"/>
        <c:crosses val="autoZero"/>
        <c:auto val="1"/>
        <c:lblAlgn val="ctr"/>
        <c:lblOffset val="100"/>
        <c:noMultiLvlLbl val="0"/>
      </c:catAx>
      <c:valAx>
        <c:axId val="95662147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crossAx val="956614831"/>
        <c:crosses val="autoZero"/>
        <c:crossBetween val="between"/>
      </c:valAx>
      <c:spPr>
        <a:noFill/>
        <a:ln>
          <a:noFill/>
        </a:ln>
        <a:effectLst/>
      </c:spPr>
    </c:plotArea>
    <c:legend>
      <c:legendPos val="b"/>
      <c:layout>
        <c:manualLayout>
          <c:xMode val="edge"/>
          <c:yMode val="edge"/>
          <c:x val="0.38554198990184801"/>
          <c:y val="0.91775999739705938"/>
          <c:w val="0.22891602019630403"/>
          <c:h val="8.224000260294055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954721176961129E-2"/>
          <c:y val="5.3764720997969029E-2"/>
          <c:w val="0.81148264873686016"/>
          <c:h val="0.76748654235442038"/>
        </c:manualLayout>
      </c:layout>
      <c:barChart>
        <c:barDir val="col"/>
        <c:grouping val="clustered"/>
        <c:varyColors val="0"/>
        <c:ser>
          <c:idx val="0"/>
          <c:order val="0"/>
          <c:tx>
            <c:strRef>
              <c:f>Sheet1!$B$1</c:f>
              <c:strCache>
                <c:ptCount val="1"/>
                <c:pt idx="0">
                  <c:v>Series 1</c:v>
                </c:pt>
              </c:strCache>
            </c:strRef>
          </c:tx>
          <c:spPr>
            <a:solidFill>
              <a:srgbClr val="F26851"/>
            </a:solidFill>
            <a:ln>
              <a:noFill/>
            </a:ln>
            <a:effectLst/>
          </c:spPr>
          <c:invertIfNegative val="0"/>
          <c:dPt>
            <c:idx val="3"/>
            <c:invertIfNegative val="0"/>
            <c:bubble3D val="0"/>
            <c:spPr>
              <a:solidFill>
                <a:srgbClr val="F26851"/>
              </a:solidFill>
              <a:ln>
                <a:noFill/>
              </a:ln>
              <a:effectLst/>
            </c:spPr>
            <c:extLst>
              <c:ext xmlns:c16="http://schemas.microsoft.com/office/drawing/2014/chart" uri="{C3380CC4-5D6E-409C-BE32-E72D297353CC}">
                <c16:uniqueId val="{00000003-243C-49CA-B6E6-23AF6EB7EF3F}"/>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ssing 10th grade math exam</c:v>
                </c:pt>
                <c:pt idx="1">
                  <c:v>Category 2</c:v>
                </c:pt>
                <c:pt idx="2">
                  <c:v>Category 3</c:v>
                </c:pt>
                <c:pt idx="3">
                  <c:v>Category 4</c:v>
                </c:pt>
              </c:strCache>
            </c:strRef>
          </c:cat>
          <c:val>
            <c:numRef>
              <c:f>Sheet1!$B$2:$B$5</c:f>
              <c:numCache>
                <c:formatCode>General</c:formatCode>
                <c:ptCount val="4"/>
                <c:pt idx="0">
                  <c:v>4.7</c:v>
                </c:pt>
                <c:pt idx="1">
                  <c:v>1.9</c:v>
                </c:pt>
                <c:pt idx="2">
                  <c:v>1.3</c:v>
                </c:pt>
                <c:pt idx="3">
                  <c:v>1.4</c:v>
                </c:pt>
              </c:numCache>
            </c:numRef>
          </c:val>
          <c:extLst>
            <c:ext xmlns:c16="http://schemas.microsoft.com/office/drawing/2014/chart" uri="{C3380CC4-5D6E-409C-BE32-E72D297353CC}">
              <c16:uniqueId val="{00000000-243C-49CA-B6E6-23AF6EB7EF3F}"/>
            </c:ext>
          </c:extLst>
        </c:ser>
        <c:dLbls>
          <c:showLegendKey val="0"/>
          <c:showVal val="0"/>
          <c:showCatName val="0"/>
          <c:showSerName val="0"/>
          <c:showPercent val="0"/>
          <c:showBubbleSize val="0"/>
        </c:dLbls>
        <c:gapWidth val="100"/>
        <c:overlap val="-27"/>
        <c:axId val="1388595376"/>
        <c:axId val="1388596208"/>
      </c:barChart>
      <c:catAx>
        <c:axId val="1388595376"/>
        <c:scaling>
          <c:orientation val="minMax"/>
        </c:scaling>
        <c:delete val="1"/>
        <c:axPos val="b"/>
        <c:numFmt formatCode="General" sourceLinked="1"/>
        <c:majorTickMark val="none"/>
        <c:minorTickMark val="none"/>
        <c:tickLblPos val="nextTo"/>
        <c:crossAx val="1388596208"/>
        <c:crosses val="autoZero"/>
        <c:auto val="1"/>
        <c:lblAlgn val="ctr"/>
        <c:lblOffset val="100"/>
        <c:noMultiLvlLbl val="0"/>
      </c:catAx>
      <c:valAx>
        <c:axId val="13885962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latin typeface="Segoe UI" panose="020B0502040204020203" pitchFamily="34" charset="0"/>
                  </a:rPr>
                  <a:t>Percentage points</a:t>
                </a:r>
              </a:p>
            </c:rich>
          </c:tx>
          <c:layout>
            <c:manualLayout>
              <c:xMode val="edge"/>
              <c:yMode val="edge"/>
              <c:x val="0"/>
              <c:y val="0.23808886996051448"/>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en-US"/>
          </a:p>
        </c:txPr>
        <c:crossAx val="1388595376"/>
        <c:crosses val="autoZero"/>
        <c:crossBetween val="between"/>
        <c:majorUnit val="1"/>
      </c:valAx>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Age 9</c:v>
          </c:tx>
          <c:spPr>
            <a:ln w="28575" cap="rnd">
              <a:solidFill>
                <a:srgbClr val="082567"/>
              </a:solidFill>
              <a:round/>
            </a:ln>
            <a:effectLst/>
          </c:spPr>
          <c:marker>
            <c:symbol val="none"/>
          </c:marker>
          <c:cat>
            <c:numRef>
              <c:f>'NAEP LTT Math Trend '!$A$3:$A$16</c:f>
              <c:numCache>
                <c:formatCode>General</c:formatCode>
                <c:ptCount val="14"/>
                <c:pt idx="0">
                  <c:v>1973</c:v>
                </c:pt>
                <c:pt idx="1">
                  <c:v>1978</c:v>
                </c:pt>
                <c:pt idx="2">
                  <c:v>1982</c:v>
                </c:pt>
                <c:pt idx="3">
                  <c:v>1986</c:v>
                </c:pt>
                <c:pt idx="4">
                  <c:v>1990</c:v>
                </c:pt>
                <c:pt idx="5">
                  <c:v>1992</c:v>
                </c:pt>
                <c:pt idx="6">
                  <c:v>1994</c:v>
                </c:pt>
                <c:pt idx="7">
                  <c:v>1996</c:v>
                </c:pt>
                <c:pt idx="8">
                  <c:v>1999</c:v>
                </c:pt>
                <c:pt idx="9">
                  <c:v>2004</c:v>
                </c:pt>
                <c:pt idx="10">
                  <c:v>2004</c:v>
                </c:pt>
                <c:pt idx="11">
                  <c:v>2008</c:v>
                </c:pt>
                <c:pt idx="12">
                  <c:v>2012</c:v>
                </c:pt>
                <c:pt idx="13">
                  <c:v>2020</c:v>
                </c:pt>
              </c:numCache>
            </c:numRef>
          </c:cat>
          <c:val>
            <c:numRef>
              <c:f>'NAEP LTT Math Trend '!$B$3:$B$16</c:f>
              <c:numCache>
                <c:formatCode>General</c:formatCode>
                <c:ptCount val="14"/>
                <c:pt idx="0">
                  <c:v>219</c:v>
                </c:pt>
                <c:pt idx="1">
                  <c:v>219</c:v>
                </c:pt>
                <c:pt idx="2">
                  <c:v>219</c:v>
                </c:pt>
                <c:pt idx="3">
                  <c:v>222</c:v>
                </c:pt>
                <c:pt idx="4">
                  <c:v>230</c:v>
                </c:pt>
                <c:pt idx="5">
                  <c:v>230</c:v>
                </c:pt>
                <c:pt idx="6">
                  <c:v>231</c:v>
                </c:pt>
                <c:pt idx="7">
                  <c:v>231</c:v>
                </c:pt>
                <c:pt idx="8">
                  <c:v>232</c:v>
                </c:pt>
                <c:pt idx="9">
                  <c:v>241</c:v>
                </c:pt>
                <c:pt idx="10">
                  <c:v>239</c:v>
                </c:pt>
                <c:pt idx="11">
                  <c:v>243</c:v>
                </c:pt>
                <c:pt idx="12">
                  <c:v>244</c:v>
                </c:pt>
                <c:pt idx="13">
                  <c:v>241</c:v>
                </c:pt>
              </c:numCache>
            </c:numRef>
          </c:val>
          <c:smooth val="0"/>
          <c:extLst>
            <c:ext xmlns:c16="http://schemas.microsoft.com/office/drawing/2014/chart" uri="{C3380CC4-5D6E-409C-BE32-E72D297353CC}">
              <c16:uniqueId val="{00000000-C00E-A349-B5BF-C93FD7553514}"/>
            </c:ext>
          </c:extLst>
        </c:ser>
        <c:ser>
          <c:idx val="1"/>
          <c:order val="1"/>
          <c:tx>
            <c:v>Age 13</c:v>
          </c:tx>
          <c:spPr>
            <a:ln w="28575" cap="rnd">
              <a:solidFill>
                <a:schemeClr val="accent2"/>
              </a:solidFill>
              <a:round/>
            </a:ln>
            <a:effectLst/>
          </c:spPr>
          <c:marker>
            <c:symbol val="none"/>
          </c:marker>
          <c:cat>
            <c:numRef>
              <c:f>'NAEP LTT Math Trend '!$A$3:$A$16</c:f>
              <c:numCache>
                <c:formatCode>General</c:formatCode>
                <c:ptCount val="14"/>
                <c:pt idx="0">
                  <c:v>1973</c:v>
                </c:pt>
                <c:pt idx="1">
                  <c:v>1978</c:v>
                </c:pt>
                <c:pt idx="2">
                  <c:v>1982</c:v>
                </c:pt>
                <c:pt idx="3">
                  <c:v>1986</c:v>
                </c:pt>
                <c:pt idx="4">
                  <c:v>1990</c:v>
                </c:pt>
                <c:pt idx="5">
                  <c:v>1992</c:v>
                </c:pt>
                <c:pt idx="6">
                  <c:v>1994</c:v>
                </c:pt>
                <c:pt idx="7">
                  <c:v>1996</c:v>
                </c:pt>
                <c:pt idx="8">
                  <c:v>1999</c:v>
                </c:pt>
                <c:pt idx="9">
                  <c:v>2004</c:v>
                </c:pt>
                <c:pt idx="10">
                  <c:v>2004</c:v>
                </c:pt>
                <c:pt idx="11">
                  <c:v>2008</c:v>
                </c:pt>
                <c:pt idx="12">
                  <c:v>2012</c:v>
                </c:pt>
                <c:pt idx="13">
                  <c:v>2020</c:v>
                </c:pt>
              </c:numCache>
            </c:numRef>
          </c:cat>
          <c:val>
            <c:numRef>
              <c:f>'NAEP LTT Math Trend '!$C$3:$C$16</c:f>
              <c:numCache>
                <c:formatCode>General</c:formatCode>
                <c:ptCount val="14"/>
                <c:pt idx="0">
                  <c:v>266</c:v>
                </c:pt>
                <c:pt idx="1">
                  <c:v>264</c:v>
                </c:pt>
                <c:pt idx="2">
                  <c:v>269</c:v>
                </c:pt>
                <c:pt idx="3">
                  <c:v>269</c:v>
                </c:pt>
                <c:pt idx="4">
                  <c:v>270</c:v>
                </c:pt>
                <c:pt idx="5">
                  <c:v>273</c:v>
                </c:pt>
                <c:pt idx="6">
                  <c:v>274</c:v>
                </c:pt>
                <c:pt idx="7">
                  <c:v>274</c:v>
                </c:pt>
                <c:pt idx="8">
                  <c:v>276</c:v>
                </c:pt>
                <c:pt idx="9">
                  <c:v>281</c:v>
                </c:pt>
                <c:pt idx="10">
                  <c:v>279</c:v>
                </c:pt>
                <c:pt idx="11">
                  <c:v>281</c:v>
                </c:pt>
                <c:pt idx="12">
                  <c:v>285</c:v>
                </c:pt>
                <c:pt idx="13">
                  <c:v>280</c:v>
                </c:pt>
              </c:numCache>
            </c:numRef>
          </c:val>
          <c:smooth val="0"/>
          <c:extLst>
            <c:ext xmlns:c16="http://schemas.microsoft.com/office/drawing/2014/chart" uri="{C3380CC4-5D6E-409C-BE32-E72D297353CC}">
              <c16:uniqueId val="{00000001-C00E-A349-B5BF-C93FD7553514}"/>
            </c:ext>
          </c:extLst>
        </c:ser>
        <c:dLbls>
          <c:showLegendKey val="0"/>
          <c:showVal val="0"/>
          <c:showCatName val="0"/>
          <c:showSerName val="0"/>
          <c:showPercent val="0"/>
          <c:showBubbleSize val="0"/>
        </c:dLbls>
        <c:smooth val="0"/>
        <c:axId val="400214320"/>
        <c:axId val="400109536"/>
      </c:lineChart>
      <c:catAx>
        <c:axId val="400214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0109536"/>
        <c:crosses val="autoZero"/>
        <c:auto val="1"/>
        <c:lblAlgn val="ctr"/>
        <c:lblOffset val="100"/>
        <c:noMultiLvlLbl val="0"/>
      </c:catAx>
      <c:valAx>
        <c:axId val="400109536"/>
        <c:scaling>
          <c:orientation val="minMax"/>
          <c:min val="2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0214320"/>
        <c:crosses val="autoZero"/>
        <c:crossBetween val="between"/>
      </c:valAx>
      <c:spPr>
        <a:noFill/>
        <a:ln>
          <a:noFill/>
        </a:ln>
        <a:effectLst/>
      </c:spPr>
    </c:plotArea>
    <c:legend>
      <c:legendPos val="b"/>
      <c:layout>
        <c:manualLayout>
          <c:xMode val="edge"/>
          <c:yMode val="edge"/>
          <c:x val="0.41200690319805061"/>
          <c:y val="0.94374105615342585"/>
          <c:w val="0.17313444800012934"/>
          <c:h val="5.6258943846574275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2292</cdr:x>
      <cdr:y>0.73768</cdr:y>
    </cdr:from>
    <cdr:to>
      <cdr:x>0.069</cdr:x>
      <cdr:y>0.77737</cdr:y>
    </cdr:to>
    <cdr:sp macro="" textlink="">
      <cdr:nvSpPr>
        <cdr:cNvPr id="3" name="TextBox 2">
          <a:extLst xmlns:a="http://schemas.openxmlformats.org/drawingml/2006/main">
            <a:ext uri="{FF2B5EF4-FFF2-40B4-BE49-F238E27FC236}">
              <a16:creationId xmlns:a16="http://schemas.microsoft.com/office/drawing/2014/main" id="{61CD5F26-E0AC-4F7D-006D-0EA02D8C2783}"/>
            </a:ext>
          </a:extLst>
        </cdr:cNvPr>
        <cdr:cNvSpPr txBox="1"/>
      </cdr:nvSpPr>
      <cdr:spPr>
        <a:xfrm xmlns:a="http://schemas.openxmlformats.org/drawingml/2006/main">
          <a:off x="260864" y="3962891"/>
          <a:ext cx="524354" cy="213199"/>
        </a:xfrm>
        <a:prstGeom xmlns:a="http://schemas.openxmlformats.org/drawingml/2006/main" prst="rect">
          <a:avLst/>
        </a:prstGeom>
        <a:solidFill xmlns:a="http://schemas.openxmlformats.org/drawingml/2006/main">
          <a:srgbClr val="7030A0"/>
        </a:solidFill>
      </cdr:spPr>
      <cdr:txBody>
        <a:bodyPr xmlns:a="http://schemas.openxmlformats.org/drawingml/2006/main" vertOverflow="clip" wrap="square" lIns="0" tIns="0" rIns="0" bIns="0" rtlCol="0" anchor="ctr"/>
        <a:lstStyle xmlns:a="http://schemas.openxmlformats.org/drawingml/2006/main"/>
        <a:p xmlns:a="http://schemas.openxmlformats.org/drawingml/2006/main">
          <a:pPr algn="ctr"/>
          <a:r>
            <a:rPr lang="en-GB" sz="800" b="1" dirty="0">
              <a:solidFill>
                <a:schemeClr val="bg1"/>
              </a:solidFill>
              <a:latin typeface="Segoe UI" panose="020B0502040204020203" pitchFamily="34" charset="0"/>
              <a:cs typeface="Segoe UI" panose="020B0502040204020203" pitchFamily="34" charset="0"/>
            </a:rPr>
            <a:t>California</a:t>
          </a:r>
          <a:endParaRPr lang="en-US" sz="800" b="1" dirty="0">
            <a:solidFill>
              <a:schemeClr val="bg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07573</cdr:x>
      <cdr:y>0.64729</cdr:y>
    </cdr:from>
    <cdr:to>
      <cdr:x>0.11716</cdr:x>
      <cdr:y>0.68311</cdr:y>
    </cdr:to>
    <cdr:sp macro="" textlink="">
      <cdr:nvSpPr>
        <cdr:cNvPr id="4" name="TextBox 3">
          <a:extLst xmlns:a="http://schemas.openxmlformats.org/drawingml/2006/main">
            <a:ext uri="{FF2B5EF4-FFF2-40B4-BE49-F238E27FC236}">
              <a16:creationId xmlns:a16="http://schemas.microsoft.com/office/drawing/2014/main" id="{DC641D53-BD98-3C5C-597B-956703EBE8AE}"/>
            </a:ext>
          </a:extLst>
        </cdr:cNvPr>
        <cdr:cNvSpPr txBox="1"/>
      </cdr:nvSpPr>
      <cdr:spPr>
        <a:xfrm xmlns:a="http://schemas.openxmlformats.org/drawingml/2006/main">
          <a:off x="861803" y="3477284"/>
          <a:ext cx="471405" cy="192454"/>
        </a:xfrm>
        <a:prstGeom xmlns:a="http://schemas.openxmlformats.org/drawingml/2006/main" prst="rect">
          <a:avLst/>
        </a:prstGeom>
        <a:solidFill xmlns:a="http://schemas.openxmlformats.org/drawingml/2006/main">
          <a:srgbClr val="CC1392"/>
        </a:solidFill>
      </cdr:spPr>
      <cdr:txBody>
        <a:bodyPr xmlns:a="http://schemas.openxmlformats.org/drawingml/2006/main" vertOverflow="clip" wrap="square" lIns="0" tIns="0" rIns="0" bIns="0" rtlCol="0" anchor="ctr"/>
        <a:lstStyle xmlns:a="http://schemas.openxmlformats.org/drawingml/2006/main"/>
        <a:p xmlns:a="http://schemas.openxmlformats.org/drawingml/2006/main">
          <a:pPr algn="ctr"/>
          <a:r>
            <a:rPr lang="en-GB" sz="800" b="1" dirty="0">
              <a:solidFill>
                <a:schemeClr val="bg1"/>
              </a:solidFill>
              <a:latin typeface="Segoe UI" panose="020B0502040204020203" pitchFamily="34" charset="0"/>
              <a:cs typeface="Segoe UI" panose="020B0502040204020203" pitchFamily="34" charset="0"/>
            </a:rPr>
            <a:t>Georgia</a:t>
          </a:r>
          <a:endParaRPr lang="en-US" sz="800" b="1" dirty="0">
            <a:solidFill>
              <a:schemeClr val="bg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02967</cdr:x>
      <cdr:y>0.63668</cdr:y>
    </cdr:from>
    <cdr:to>
      <cdr:x>0.06898</cdr:x>
      <cdr:y>0.67355</cdr:y>
    </cdr:to>
    <cdr:sp macro="" textlink="">
      <cdr:nvSpPr>
        <cdr:cNvPr id="5" name="TextBox 4">
          <a:extLst xmlns:a="http://schemas.openxmlformats.org/drawingml/2006/main">
            <a:ext uri="{FF2B5EF4-FFF2-40B4-BE49-F238E27FC236}">
              <a16:creationId xmlns:a16="http://schemas.microsoft.com/office/drawing/2014/main" id="{769C1CB8-B5D4-5842-ADE4-0EDDD0683949}"/>
            </a:ext>
          </a:extLst>
        </cdr:cNvPr>
        <cdr:cNvSpPr txBox="1"/>
      </cdr:nvSpPr>
      <cdr:spPr>
        <a:xfrm xmlns:a="http://schemas.openxmlformats.org/drawingml/2006/main">
          <a:off x="337587" y="3420289"/>
          <a:ext cx="447338" cy="198115"/>
        </a:xfrm>
        <a:prstGeom xmlns:a="http://schemas.openxmlformats.org/drawingml/2006/main" prst="rect">
          <a:avLst/>
        </a:prstGeom>
        <a:solidFill xmlns:a="http://schemas.openxmlformats.org/drawingml/2006/main">
          <a:srgbClr val="082567"/>
        </a:solidFill>
      </cdr:spPr>
      <cdr:txBody>
        <a:bodyPr xmlns:a="http://schemas.openxmlformats.org/drawingml/2006/main" vertOverflow="clip" wrap="square" lIns="0" tIns="0" rIns="0" bIns="0" rtlCol="0" anchor="ctr"/>
        <a:lstStyle xmlns:a="http://schemas.openxmlformats.org/drawingml/2006/main"/>
        <a:p xmlns:a="http://schemas.openxmlformats.org/drawingml/2006/main">
          <a:pPr algn="ctr"/>
          <a:r>
            <a:rPr lang="en-GB" sz="800" b="1" dirty="0">
              <a:solidFill>
                <a:schemeClr val="bg1"/>
              </a:solidFill>
              <a:latin typeface="Segoe UI" panose="020B0502040204020203" pitchFamily="34" charset="0"/>
              <a:cs typeface="Segoe UI" panose="020B0502040204020203" pitchFamily="34" charset="0"/>
            </a:rPr>
            <a:t>TEXAS</a:t>
          </a:r>
          <a:endParaRPr lang="en-US" sz="800" b="1" dirty="0">
            <a:solidFill>
              <a:schemeClr val="bg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03528</cdr:x>
      <cdr:y>0.60695</cdr:y>
    </cdr:from>
    <cdr:to>
      <cdr:x>0.06856</cdr:x>
      <cdr:y>0.6349</cdr:y>
    </cdr:to>
    <cdr:sp macro="" textlink="">
      <cdr:nvSpPr>
        <cdr:cNvPr id="6" name="TextBox 5">
          <a:extLst xmlns:a="http://schemas.openxmlformats.org/drawingml/2006/main">
            <a:ext uri="{FF2B5EF4-FFF2-40B4-BE49-F238E27FC236}">
              <a16:creationId xmlns:a16="http://schemas.microsoft.com/office/drawing/2014/main" id="{85B3C61C-76A6-7854-D4BA-9D930375D08E}"/>
            </a:ext>
          </a:extLst>
        </cdr:cNvPr>
        <cdr:cNvSpPr txBox="1"/>
      </cdr:nvSpPr>
      <cdr:spPr>
        <a:xfrm xmlns:a="http://schemas.openxmlformats.org/drawingml/2006/main">
          <a:off x="401446" y="3260582"/>
          <a:ext cx="378665" cy="150180"/>
        </a:xfrm>
        <a:prstGeom xmlns:a="http://schemas.openxmlformats.org/drawingml/2006/main" prst="rect">
          <a:avLst/>
        </a:prstGeom>
        <a:solidFill xmlns:a="http://schemas.openxmlformats.org/drawingml/2006/main">
          <a:srgbClr val="548235"/>
        </a:solidFill>
      </cdr:spPr>
      <cdr:txBody>
        <a:bodyPr xmlns:a="http://schemas.openxmlformats.org/drawingml/2006/main" vertOverflow="clip" wrap="square" lIns="0" tIns="0" rIns="0" bIns="0" rtlCol="0"/>
        <a:lstStyle xmlns:a="http://schemas.openxmlformats.org/drawingml/2006/main"/>
        <a:p xmlns:a="http://schemas.openxmlformats.org/drawingml/2006/main">
          <a:pPr algn="ctr"/>
          <a:r>
            <a:rPr lang="en-GB" sz="800" b="1" dirty="0">
              <a:solidFill>
                <a:schemeClr val="bg1"/>
              </a:solidFill>
              <a:latin typeface="Segoe UI" panose="020B0502040204020203" pitchFamily="34" charset="0"/>
              <a:cs typeface="Segoe UI" panose="020B0502040204020203" pitchFamily="34" charset="0"/>
            </a:rPr>
            <a:t>Illinois</a:t>
          </a:r>
          <a:endParaRPr lang="en-US" sz="800" b="1" dirty="0">
            <a:solidFill>
              <a:schemeClr val="bg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03528</cdr:x>
      <cdr:y>0.57691</cdr:y>
    </cdr:from>
    <cdr:to>
      <cdr:x>0.06905</cdr:x>
      <cdr:y>0.60522</cdr:y>
    </cdr:to>
    <cdr:sp macro="" textlink="">
      <cdr:nvSpPr>
        <cdr:cNvPr id="7" name="TextBox 6">
          <a:extLst xmlns:a="http://schemas.openxmlformats.org/drawingml/2006/main">
            <a:ext uri="{FF2B5EF4-FFF2-40B4-BE49-F238E27FC236}">
              <a16:creationId xmlns:a16="http://schemas.microsoft.com/office/drawing/2014/main" id="{88508D8D-CEBF-0707-EB29-7DF61A2D38A6}"/>
            </a:ext>
          </a:extLst>
        </cdr:cNvPr>
        <cdr:cNvSpPr txBox="1"/>
      </cdr:nvSpPr>
      <cdr:spPr>
        <a:xfrm xmlns:a="http://schemas.openxmlformats.org/drawingml/2006/main">
          <a:off x="401447" y="3099215"/>
          <a:ext cx="384256" cy="152066"/>
        </a:xfrm>
        <a:prstGeom xmlns:a="http://schemas.openxmlformats.org/drawingml/2006/main" prst="rect">
          <a:avLst/>
        </a:prstGeom>
        <a:solidFill xmlns:a="http://schemas.openxmlformats.org/drawingml/2006/main">
          <a:srgbClr val="ED7D31"/>
        </a:solidFill>
      </cdr:spPr>
      <cdr:txBody>
        <a:bodyPr xmlns:a="http://schemas.openxmlformats.org/drawingml/2006/main" vertOverflow="clip" wrap="square" lIns="0" tIns="0" rIns="0" bIns="0" rtlCol="0"/>
        <a:lstStyle xmlns:a="http://schemas.openxmlformats.org/drawingml/2006/main"/>
        <a:p xmlns:a="http://schemas.openxmlformats.org/drawingml/2006/main">
          <a:pPr algn="ctr"/>
          <a:r>
            <a:rPr lang="en-GB" sz="800" b="1" dirty="0">
              <a:solidFill>
                <a:schemeClr val="bg1"/>
              </a:solidFill>
              <a:latin typeface="Segoe UI" panose="020B0502040204020203" pitchFamily="34" charset="0"/>
              <a:cs typeface="Segoe UI" panose="020B0502040204020203" pitchFamily="34" charset="0"/>
            </a:rPr>
            <a:t>Florida</a:t>
          </a:r>
          <a:endParaRPr lang="en-US" sz="800" b="1" dirty="0">
            <a:solidFill>
              <a:schemeClr val="bg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80017</cdr:x>
      <cdr:y>0.52689</cdr:y>
    </cdr:from>
    <cdr:to>
      <cdr:x>0.86663</cdr:x>
      <cdr:y>0.55435</cdr:y>
    </cdr:to>
    <cdr:sp macro="" textlink="">
      <cdr:nvSpPr>
        <cdr:cNvPr id="8" name="TextBox 7">
          <a:extLst xmlns:a="http://schemas.openxmlformats.org/drawingml/2006/main">
            <a:ext uri="{FF2B5EF4-FFF2-40B4-BE49-F238E27FC236}">
              <a16:creationId xmlns:a16="http://schemas.microsoft.com/office/drawing/2014/main" id="{8348439E-DDA7-9B38-4E51-3EF4F9D6D716}"/>
            </a:ext>
          </a:extLst>
        </cdr:cNvPr>
        <cdr:cNvSpPr txBox="1"/>
      </cdr:nvSpPr>
      <cdr:spPr>
        <a:xfrm xmlns:a="http://schemas.openxmlformats.org/drawingml/2006/main">
          <a:off x="9105269" y="2830518"/>
          <a:ext cx="756281" cy="147516"/>
        </a:xfrm>
        <a:prstGeom xmlns:a="http://schemas.openxmlformats.org/drawingml/2006/main" prst="rect">
          <a:avLst/>
        </a:prstGeom>
        <a:solidFill xmlns:a="http://schemas.openxmlformats.org/drawingml/2006/main">
          <a:srgbClr val="F8CBAD"/>
        </a:solidFill>
      </cdr:spPr>
      <cdr:txBody>
        <a:bodyPr xmlns:a="http://schemas.openxmlformats.org/drawingml/2006/main" vertOverflow="clip" wrap="square" lIns="0" tIns="0" rIns="0" bIns="0" rtlCol="0"/>
        <a:lstStyle xmlns:a="http://schemas.openxmlformats.org/drawingml/2006/main"/>
        <a:p xmlns:a="http://schemas.openxmlformats.org/drawingml/2006/main">
          <a:r>
            <a:rPr lang="en-GB" sz="800" b="1" dirty="0">
              <a:latin typeface="Segoe UI" panose="020B0502040204020203" pitchFamily="34" charset="0"/>
              <a:cs typeface="Segoe UI" panose="020B0502040204020203" pitchFamily="34" charset="0"/>
            </a:rPr>
            <a:t>North Carolina</a:t>
          </a:r>
          <a:endParaRPr lang="en-US" sz="800" b="1" dirty="0">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04445</cdr:x>
      <cdr:y>0.52045</cdr:y>
    </cdr:from>
    <cdr:to>
      <cdr:x>0.06941</cdr:x>
      <cdr:y>0.54718</cdr:y>
    </cdr:to>
    <cdr:sp macro="" textlink="">
      <cdr:nvSpPr>
        <cdr:cNvPr id="9" name="TextBox 8">
          <a:extLst xmlns:a="http://schemas.openxmlformats.org/drawingml/2006/main">
            <a:ext uri="{FF2B5EF4-FFF2-40B4-BE49-F238E27FC236}">
              <a16:creationId xmlns:a16="http://schemas.microsoft.com/office/drawing/2014/main" id="{E236C8FC-01CF-9F79-E82B-D03865053577}"/>
            </a:ext>
          </a:extLst>
        </cdr:cNvPr>
        <cdr:cNvSpPr txBox="1"/>
      </cdr:nvSpPr>
      <cdr:spPr>
        <a:xfrm xmlns:a="http://schemas.openxmlformats.org/drawingml/2006/main">
          <a:off x="505791" y="2795914"/>
          <a:ext cx="283999" cy="143577"/>
        </a:xfrm>
        <a:prstGeom xmlns:a="http://schemas.openxmlformats.org/drawingml/2006/main" prst="rect">
          <a:avLst/>
        </a:prstGeom>
        <a:solidFill xmlns:a="http://schemas.openxmlformats.org/drawingml/2006/main">
          <a:srgbClr val="2F5597"/>
        </a:solidFill>
      </cdr:spPr>
      <cdr:txBody>
        <a:bodyPr xmlns:a="http://schemas.openxmlformats.org/drawingml/2006/main" vertOverflow="clip" wrap="square" lIns="0" tIns="0" rIns="0" bIns="0" rtlCol="0" anchor="ctr"/>
        <a:lstStyle xmlns:a="http://schemas.openxmlformats.org/drawingml/2006/main"/>
        <a:p xmlns:a="http://schemas.openxmlformats.org/drawingml/2006/main">
          <a:pPr algn="ctr"/>
          <a:r>
            <a:rPr lang="en-GB" sz="800" b="1" dirty="0">
              <a:solidFill>
                <a:schemeClr val="bg1"/>
              </a:solidFill>
              <a:latin typeface="Segoe UI" panose="020B0502040204020203" pitchFamily="34" charset="0"/>
              <a:cs typeface="Segoe UI" panose="020B0502040204020203" pitchFamily="34" charset="0"/>
            </a:rPr>
            <a:t>Ohio</a:t>
          </a:r>
          <a:endParaRPr lang="en-US" sz="800" b="1" dirty="0">
            <a:solidFill>
              <a:schemeClr val="bg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02249</cdr:x>
      <cdr:y>0.49409</cdr:y>
    </cdr:from>
    <cdr:to>
      <cdr:x>0.07008</cdr:x>
      <cdr:y>0.51859</cdr:y>
    </cdr:to>
    <cdr:sp macro="" textlink="">
      <cdr:nvSpPr>
        <cdr:cNvPr id="10" name="TextBox 9">
          <a:extLst xmlns:a="http://schemas.openxmlformats.org/drawingml/2006/main">
            <a:ext uri="{FF2B5EF4-FFF2-40B4-BE49-F238E27FC236}">
              <a16:creationId xmlns:a16="http://schemas.microsoft.com/office/drawing/2014/main" id="{340456A8-8FCA-795F-7A8C-13098D331D43}"/>
            </a:ext>
          </a:extLst>
        </cdr:cNvPr>
        <cdr:cNvSpPr txBox="1"/>
      </cdr:nvSpPr>
      <cdr:spPr>
        <a:xfrm xmlns:a="http://schemas.openxmlformats.org/drawingml/2006/main">
          <a:off x="255947" y="2654300"/>
          <a:ext cx="541522" cy="131599"/>
        </a:xfrm>
        <a:prstGeom xmlns:a="http://schemas.openxmlformats.org/drawingml/2006/main" prst="rect">
          <a:avLst/>
        </a:prstGeom>
        <a:solidFill xmlns:a="http://schemas.openxmlformats.org/drawingml/2006/main">
          <a:schemeClr val="accent4"/>
        </a:solidFill>
      </cdr:spPr>
      <cdr:txBody>
        <a:bodyPr xmlns:a="http://schemas.openxmlformats.org/drawingml/2006/main" vertOverflow="clip" wrap="square" lIns="0" tIns="0" rIns="0" bIns="0" rtlCol="0" anchor="ctr"/>
        <a:lstStyle xmlns:a="http://schemas.openxmlformats.org/drawingml/2006/main"/>
        <a:p xmlns:a="http://schemas.openxmlformats.org/drawingml/2006/main">
          <a:pPr algn="ctr"/>
          <a:r>
            <a:rPr lang="en-GB" sz="800" b="1" dirty="0">
              <a:solidFill>
                <a:schemeClr val="tx1"/>
              </a:solidFill>
              <a:latin typeface="Segoe UI" panose="020B0502040204020203" pitchFamily="34" charset="0"/>
              <a:cs typeface="Segoe UI" panose="020B0502040204020203" pitchFamily="34" charset="0"/>
            </a:rPr>
            <a:t>Colorado</a:t>
          </a:r>
          <a:endParaRPr lang="en-US" sz="800" b="1" dirty="0">
            <a:solidFill>
              <a:schemeClr val="tx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79983</cdr:x>
      <cdr:y>0.49527</cdr:y>
    </cdr:from>
    <cdr:to>
      <cdr:x>0.84361</cdr:x>
      <cdr:y>0.52305</cdr:y>
    </cdr:to>
    <cdr:sp macro="" textlink="">
      <cdr:nvSpPr>
        <cdr:cNvPr id="11" name="TextBox 10">
          <a:extLst xmlns:a="http://schemas.openxmlformats.org/drawingml/2006/main">
            <a:ext uri="{FF2B5EF4-FFF2-40B4-BE49-F238E27FC236}">
              <a16:creationId xmlns:a16="http://schemas.microsoft.com/office/drawing/2014/main" id="{0C4EB6F1-9C8E-5FE6-6BF1-CA7A59EB03C0}"/>
            </a:ext>
          </a:extLst>
        </cdr:cNvPr>
        <cdr:cNvSpPr txBox="1"/>
      </cdr:nvSpPr>
      <cdr:spPr>
        <a:xfrm xmlns:a="http://schemas.openxmlformats.org/drawingml/2006/main">
          <a:off x="9101462" y="2660650"/>
          <a:ext cx="498200" cy="149237"/>
        </a:xfrm>
        <a:prstGeom xmlns:a="http://schemas.openxmlformats.org/drawingml/2006/main" prst="rect">
          <a:avLst/>
        </a:prstGeom>
        <a:solidFill xmlns:a="http://schemas.openxmlformats.org/drawingml/2006/main">
          <a:srgbClr val="F4B183"/>
        </a:solidFill>
      </cdr:spPr>
      <cdr:txBody>
        <a:bodyPr xmlns:a="http://schemas.openxmlformats.org/drawingml/2006/main" vertOverflow="clip" wrap="square" lIns="0" tIns="0" rIns="0" bIns="0" rtlCol="0"/>
        <a:lstStyle xmlns:a="http://schemas.openxmlformats.org/drawingml/2006/main"/>
        <a:p xmlns:a="http://schemas.openxmlformats.org/drawingml/2006/main">
          <a:pPr algn="ctr"/>
          <a:r>
            <a:rPr lang="en-GB" sz="800" b="1" dirty="0">
              <a:latin typeface="Segoe UI" panose="020B0502040204020203" pitchFamily="34" charset="0"/>
              <a:cs typeface="Segoe UI" panose="020B0502040204020203" pitchFamily="34" charset="0"/>
            </a:rPr>
            <a:t>Virginia</a:t>
          </a:r>
          <a:endParaRPr lang="en-US" sz="800" b="1" dirty="0">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80027</cdr:x>
      <cdr:y>0.55679</cdr:y>
    </cdr:from>
    <cdr:to>
      <cdr:x>0.84997</cdr:x>
      <cdr:y>0.58127</cdr:y>
    </cdr:to>
    <cdr:sp macro="" textlink="">
      <cdr:nvSpPr>
        <cdr:cNvPr id="12" name="TextBox 11">
          <a:extLst xmlns:a="http://schemas.openxmlformats.org/drawingml/2006/main">
            <a:ext uri="{FF2B5EF4-FFF2-40B4-BE49-F238E27FC236}">
              <a16:creationId xmlns:a16="http://schemas.microsoft.com/office/drawing/2014/main" id="{7FC244DB-1E6C-31C1-6818-A8F968D5D376}"/>
            </a:ext>
          </a:extLst>
        </cdr:cNvPr>
        <cdr:cNvSpPr txBox="1"/>
      </cdr:nvSpPr>
      <cdr:spPr>
        <a:xfrm xmlns:a="http://schemas.openxmlformats.org/drawingml/2006/main">
          <a:off x="9106410" y="2991157"/>
          <a:ext cx="565591" cy="131462"/>
        </a:xfrm>
        <a:prstGeom xmlns:a="http://schemas.openxmlformats.org/drawingml/2006/main" prst="rect">
          <a:avLst/>
        </a:prstGeom>
        <a:solidFill xmlns:a="http://schemas.openxmlformats.org/drawingml/2006/main">
          <a:srgbClr val="5B9BD5"/>
        </a:solidFill>
      </cdr:spPr>
      <cdr:txBody>
        <a:bodyPr xmlns:a="http://schemas.openxmlformats.org/drawingml/2006/main" vertOverflow="clip" wrap="square" lIns="0" tIns="0" rIns="0" bIns="0" rtlCol="0"/>
        <a:lstStyle xmlns:a="http://schemas.openxmlformats.org/drawingml/2006/main"/>
        <a:p xmlns:a="http://schemas.openxmlformats.org/drawingml/2006/main">
          <a:pPr algn="ctr"/>
          <a:r>
            <a:rPr lang="en-GB" sz="800" b="1" dirty="0">
              <a:solidFill>
                <a:schemeClr val="bg1"/>
              </a:solidFill>
              <a:latin typeface="Segoe UI" panose="020B0502040204020203" pitchFamily="34" charset="0"/>
              <a:cs typeface="Segoe UI" panose="020B0502040204020203" pitchFamily="34" charset="0"/>
            </a:rPr>
            <a:t>New York</a:t>
          </a:r>
          <a:endParaRPr lang="en-US" sz="800" b="1" dirty="0">
            <a:solidFill>
              <a:schemeClr val="bg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00895</cdr:x>
      <cdr:y>0.54753</cdr:y>
    </cdr:from>
    <cdr:to>
      <cdr:x>0.06944</cdr:x>
      <cdr:y>0.57531</cdr:y>
    </cdr:to>
    <cdr:sp macro="" textlink="">
      <cdr:nvSpPr>
        <cdr:cNvPr id="13" name="TextBox 12">
          <a:extLst xmlns:a="http://schemas.openxmlformats.org/drawingml/2006/main">
            <a:ext uri="{FF2B5EF4-FFF2-40B4-BE49-F238E27FC236}">
              <a16:creationId xmlns:a16="http://schemas.microsoft.com/office/drawing/2014/main" id="{64205075-975C-0DA4-451F-EDF23ED09218}"/>
            </a:ext>
          </a:extLst>
        </cdr:cNvPr>
        <cdr:cNvSpPr txBox="1"/>
      </cdr:nvSpPr>
      <cdr:spPr>
        <a:xfrm xmlns:a="http://schemas.openxmlformats.org/drawingml/2006/main">
          <a:off x="101837" y="2941399"/>
          <a:ext cx="688336" cy="149237"/>
        </a:xfrm>
        <a:prstGeom xmlns:a="http://schemas.openxmlformats.org/drawingml/2006/main" prst="rect">
          <a:avLst/>
        </a:prstGeom>
        <a:solidFill xmlns:a="http://schemas.openxmlformats.org/drawingml/2006/main">
          <a:srgbClr val="C08DE9"/>
        </a:solidFill>
      </cdr:spPr>
      <cdr:txBody>
        <a:bodyPr xmlns:a="http://schemas.openxmlformats.org/drawingml/2006/main" vertOverflow="clip" wrap="square" lIns="0" tIns="0" rIns="0" bIns="0" rtlCol="0"/>
        <a:lstStyle xmlns:a="http://schemas.openxmlformats.org/drawingml/2006/main"/>
        <a:p xmlns:a="http://schemas.openxmlformats.org/drawingml/2006/main">
          <a:pPr algn="ctr"/>
          <a:r>
            <a:rPr lang="en-GB" sz="800" b="1" dirty="0">
              <a:solidFill>
                <a:schemeClr val="bg1"/>
              </a:solidFill>
              <a:latin typeface="Segoe UI" panose="020B0502040204020203" pitchFamily="34" charset="0"/>
              <a:cs typeface="Segoe UI" panose="020B0502040204020203" pitchFamily="34" charset="0"/>
            </a:rPr>
            <a:t>Pennsylvania</a:t>
          </a:r>
          <a:endParaRPr lang="en-US" sz="800" b="1" dirty="0">
            <a:solidFill>
              <a:schemeClr val="bg1"/>
            </a:solidFill>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80047</cdr:x>
      <cdr:y>0.58344</cdr:y>
    </cdr:from>
    <cdr:to>
      <cdr:x>0.85504</cdr:x>
      <cdr:y>0.61122</cdr:y>
    </cdr:to>
    <cdr:sp macro="" textlink="">
      <cdr:nvSpPr>
        <cdr:cNvPr id="14" name="TextBox 13">
          <a:extLst xmlns:a="http://schemas.openxmlformats.org/drawingml/2006/main">
            <a:ext uri="{FF2B5EF4-FFF2-40B4-BE49-F238E27FC236}">
              <a16:creationId xmlns:a16="http://schemas.microsoft.com/office/drawing/2014/main" id="{DB5D3103-A932-C4E2-5142-FCEB738CD183}"/>
            </a:ext>
          </a:extLst>
        </cdr:cNvPr>
        <cdr:cNvSpPr txBox="1"/>
      </cdr:nvSpPr>
      <cdr:spPr>
        <a:xfrm xmlns:a="http://schemas.openxmlformats.org/drawingml/2006/main">
          <a:off x="9108682" y="3134279"/>
          <a:ext cx="620945" cy="149237"/>
        </a:xfrm>
        <a:prstGeom xmlns:a="http://schemas.openxmlformats.org/drawingml/2006/main" prst="rect">
          <a:avLst/>
        </a:prstGeom>
        <a:solidFill xmlns:a="http://schemas.openxmlformats.org/drawingml/2006/main">
          <a:srgbClr val="4472C4"/>
        </a:solidFill>
      </cdr:spPr>
      <cdr:txBody>
        <a:bodyPr xmlns:a="http://schemas.openxmlformats.org/drawingml/2006/main" vertOverflow="clip" wrap="square" lIns="0" tIns="0" rIns="0" bIns="0" rtlCol="0"/>
        <a:lstStyle xmlns:a="http://schemas.openxmlformats.org/drawingml/2006/main"/>
        <a:p xmlns:a="http://schemas.openxmlformats.org/drawingml/2006/main">
          <a:pPr algn="ctr"/>
          <a:r>
            <a:rPr lang="en-GB" sz="800" b="1" dirty="0">
              <a:solidFill>
                <a:schemeClr val="bg1"/>
              </a:solidFill>
              <a:latin typeface="Segoe UI" panose="020B0502040204020203" pitchFamily="34" charset="0"/>
              <a:cs typeface="Segoe UI" panose="020B0502040204020203" pitchFamily="34" charset="0"/>
            </a:rPr>
            <a:t>Washington</a:t>
          </a:r>
          <a:endParaRPr lang="en-US" sz="800" b="1" dirty="0">
            <a:solidFill>
              <a:schemeClr val="bg1"/>
            </a:solidFill>
            <a:latin typeface="Segoe UI" panose="020B0502040204020203" pitchFamily="34" charset="0"/>
            <a:cs typeface="Segoe UI" panose="020B0502040204020203"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4806</cdr:x>
      <cdr:y>0.11421</cdr:y>
    </cdr:from>
    <cdr:to>
      <cdr:x>0.18283</cdr:x>
      <cdr:y>0.14739</cdr:y>
    </cdr:to>
    <cdr:sp macro="" textlink="">
      <cdr:nvSpPr>
        <cdr:cNvPr id="2" name="Rectangle 1">
          <a:extLst xmlns:a="http://schemas.openxmlformats.org/drawingml/2006/main">
            <a:ext uri="{FF2B5EF4-FFF2-40B4-BE49-F238E27FC236}">
              <a16:creationId xmlns:a16="http://schemas.microsoft.com/office/drawing/2014/main" id="{D5D63272-4644-0EC6-4D2C-B546CEADB5B5}"/>
            </a:ext>
          </a:extLst>
        </cdr:cNvPr>
        <cdr:cNvSpPr/>
      </cdr:nvSpPr>
      <cdr:spPr>
        <a:xfrm xmlns:a="http://schemas.openxmlformats.org/drawingml/2006/main">
          <a:off x="1635918" y="483507"/>
          <a:ext cx="384123" cy="140494"/>
        </a:xfrm>
        <a:prstGeom xmlns:a="http://schemas.openxmlformats.org/drawingml/2006/main" prst="rect">
          <a:avLst/>
        </a:prstGeom>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latin typeface="Segoe UI" panose="020B0502040204020203" pitchFamily="34" charset="0"/>
          </a:endParaRPr>
        </a:p>
      </cdr:txBody>
    </cdr:sp>
  </cdr:relSizeAnchor>
  <cdr:relSizeAnchor xmlns:cdr="http://schemas.openxmlformats.org/drawingml/2006/chartDrawing">
    <cdr:from>
      <cdr:x>0.12888</cdr:x>
      <cdr:y>0.03605</cdr:y>
    </cdr:from>
    <cdr:to>
      <cdr:x>0.18265</cdr:x>
      <cdr:y>0.0724</cdr:y>
    </cdr:to>
    <cdr:sp macro="" textlink="">
      <cdr:nvSpPr>
        <cdr:cNvPr id="3" name="Rectangle 2">
          <a:extLst xmlns:a="http://schemas.openxmlformats.org/drawingml/2006/main">
            <a:ext uri="{FF2B5EF4-FFF2-40B4-BE49-F238E27FC236}">
              <a16:creationId xmlns:a16="http://schemas.microsoft.com/office/drawing/2014/main" id="{4CA7078C-5148-12CD-7BCC-B944EFFE15ED}"/>
            </a:ext>
          </a:extLst>
        </cdr:cNvPr>
        <cdr:cNvSpPr/>
      </cdr:nvSpPr>
      <cdr:spPr>
        <a:xfrm xmlns:a="http://schemas.openxmlformats.org/drawingml/2006/main">
          <a:off x="1423987" y="152613"/>
          <a:ext cx="594120" cy="153888"/>
        </a:xfrm>
        <a:prstGeom xmlns:a="http://schemas.openxmlformats.org/drawingml/2006/main" prst="rect">
          <a:avLst/>
        </a:prstGeom>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latin typeface="Segoe UI" panose="020B0502040204020203" pitchFamily="34" charset="0"/>
          </a:endParaRPr>
        </a:p>
      </cdr:txBody>
    </cdr:sp>
  </cdr:relSizeAnchor>
  <cdr:relSizeAnchor xmlns:cdr="http://schemas.openxmlformats.org/drawingml/2006/chartDrawing">
    <cdr:from>
      <cdr:x>0.13491</cdr:x>
      <cdr:y>0.88065</cdr:y>
    </cdr:from>
    <cdr:to>
      <cdr:x>0.20905</cdr:x>
      <cdr:y>0.92565</cdr:y>
    </cdr:to>
    <cdr:sp macro="" textlink="">
      <cdr:nvSpPr>
        <cdr:cNvPr id="4" name="TextBox 3">
          <a:extLst xmlns:a="http://schemas.openxmlformats.org/drawingml/2006/main">
            <a:ext uri="{FF2B5EF4-FFF2-40B4-BE49-F238E27FC236}">
              <a16:creationId xmlns:a16="http://schemas.microsoft.com/office/drawing/2014/main" id="{500A01FF-236B-7F07-E5A4-8C77DF2BE981}"/>
            </a:ext>
          </a:extLst>
        </cdr:cNvPr>
        <cdr:cNvSpPr txBox="1"/>
      </cdr:nvSpPr>
      <cdr:spPr>
        <a:xfrm xmlns:a="http://schemas.openxmlformats.org/drawingml/2006/main">
          <a:off x="1490661" y="3728357"/>
          <a:ext cx="819150"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sz="1100" dirty="0">
              <a:latin typeface="Segoe UI" panose="020B0502040204020203" pitchFamily="34" charset="0"/>
            </a:rPr>
            <a:t>California</a:t>
          </a:r>
        </a:p>
      </cdr:txBody>
    </cdr:sp>
  </cdr:relSizeAnchor>
  <cdr:relSizeAnchor xmlns:cdr="http://schemas.openxmlformats.org/drawingml/2006/chartDrawing">
    <cdr:from>
      <cdr:x>0.13491</cdr:x>
      <cdr:y>0.80266</cdr:y>
    </cdr:from>
    <cdr:to>
      <cdr:x>0.20905</cdr:x>
      <cdr:y>0.84765</cdr:y>
    </cdr:to>
    <cdr:sp macro="" textlink="">
      <cdr:nvSpPr>
        <cdr:cNvPr id="5" name="TextBox 4">
          <a:extLst xmlns:a="http://schemas.openxmlformats.org/drawingml/2006/main">
            <a:ext uri="{FF2B5EF4-FFF2-40B4-BE49-F238E27FC236}">
              <a16:creationId xmlns:a16="http://schemas.microsoft.com/office/drawing/2014/main" id="{2A6A1418-EA97-4184-E0EE-B0D75CCF5163}"/>
            </a:ext>
          </a:extLst>
        </cdr:cNvPr>
        <cdr:cNvSpPr txBox="1"/>
      </cdr:nvSpPr>
      <cdr:spPr>
        <a:xfrm xmlns:a="http://schemas.openxmlformats.org/drawingml/2006/main">
          <a:off x="1490661" y="3398157"/>
          <a:ext cx="819150"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sz="1100" dirty="0">
              <a:latin typeface="Segoe UI" panose="020B0502040204020203" pitchFamily="34" charset="0"/>
            </a:rPr>
            <a:t>Florida</a:t>
          </a:r>
        </a:p>
      </cdr:txBody>
    </cdr:sp>
  </cdr:relSizeAnchor>
  <cdr:relSizeAnchor xmlns:cdr="http://schemas.openxmlformats.org/drawingml/2006/chartDrawing">
    <cdr:from>
      <cdr:x>0.13491</cdr:x>
      <cdr:y>0.72541</cdr:y>
    </cdr:from>
    <cdr:to>
      <cdr:x>0.20905</cdr:x>
      <cdr:y>0.77041</cdr:y>
    </cdr:to>
    <cdr:sp macro="" textlink="">
      <cdr:nvSpPr>
        <cdr:cNvPr id="6" name="TextBox 5">
          <a:extLst xmlns:a="http://schemas.openxmlformats.org/drawingml/2006/main">
            <a:ext uri="{FF2B5EF4-FFF2-40B4-BE49-F238E27FC236}">
              <a16:creationId xmlns:a16="http://schemas.microsoft.com/office/drawing/2014/main" id="{9858A4D8-BFBA-BF2A-8D1B-91EE296B8473}"/>
            </a:ext>
          </a:extLst>
        </cdr:cNvPr>
        <cdr:cNvSpPr txBox="1"/>
      </cdr:nvSpPr>
      <cdr:spPr>
        <a:xfrm xmlns:a="http://schemas.openxmlformats.org/drawingml/2006/main">
          <a:off x="1490661" y="3071132"/>
          <a:ext cx="819150"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sz="1100" dirty="0">
              <a:latin typeface="Segoe UI" panose="020B0502040204020203" pitchFamily="34" charset="0"/>
            </a:rPr>
            <a:t>Georgia</a:t>
          </a:r>
        </a:p>
      </cdr:txBody>
    </cdr:sp>
  </cdr:relSizeAnchor>
  <cdr:relSizeAnchor xmlns:cdr="http://schemas.openxmlformats.org/drawingml/2006/chartDrawing">
    <cdr:from>
      <cdr:x>0.11738</cdr:x>
      <cdr:y>0.64592</cdr:y>
    </cdr:from>
    <cdr:to>
      <cdr:x>0.20905</cdr:x>
      <cdr:y>0.69091</cdr:y>
    </cdr:to>
    <cdr:sp macro="" textlink="">
      <cdr:nvSpPr>
        <cdr:cNvPr id="7" name="TextBox 6">
          <a:extLst xmlns:a="http://schemas.openxmlformats.org/drawingml/2006/main">
            <a:ext uri="{FF2B5EF4-FFF2-40B4-BE49-F238E27FC236}">
              <a16:creationId xmlns:a16="http://schemas.microsoft.com/office/drawing/2014/main" id="{66008A6F-C939-3059-863B-9231C3E35BFC}"/>
            </a:ext>
          </a:extLst>
        </cdr:cNvPr>
        <cdr:cNvSpPr txBox="1"/>
      </cdr:nvSpPr>
      <cdr:spPr>
        <a:xfrm xmlns:a="http://schemas.openxmlformats.org/drawingml/2006/main">
          <a:off x="1296985" y="2734582"/>
          <a:ext cx="1012826"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dirty="0">
              <a:latin typeface="Segoe UI" panose="020B0502040204020203" pitchFamily="34" charset="0"/>
            </a:rPr>
            <a:t>Pennsylvania</a:t>
          </a:r>
          <a:endParaRPr lang="en-US" sz="1100" dirty="0">
            <a:latin typeface="Segoe UI" panose="020B0502040204020203" pitchFamily="34" charset="0"/>
          </a:endParaRPr>
        </a:p>
      </cdr:txBody>
    </cdr:sp>
  </cdr:relSizeAnchor>
  <cdr:relSizeAnchor xmlns:cdr="http://schemas.openxmlformats.org/drawingml/2006/chartDrawing">
    <cdr:from>
      <cdr:x>0.11738</cdr:x>
      <cdr:y>0.57167</cdr:y>
    </cdr:from>
    <cdr:to>
      <cdr:x>0.20905</cdr:x>
      <cdr:y>0.61667</cdr:y>
    </cdr:to>
    <cdr:sp macro="" textlink="">
      <cdr:nvSpPr>
        <cdr:cNvPr id="8" name="TextBox 7">
          <a:extLst xmlns:a="http://schemas.openxmlformats.org/drawingml/2006/main">
            <a:ext uri="{FF2B5EF4-FFF2-40B4-BE49-F238E27FC236}">
              <a16:creationId xmlns:a16="http://schemas.microsoft.com/office/drawing/2014/main" id="{2451EBC6-32B9-2732-0B73-4BE00CE4F22F}"/>
            </a:ext>
          </a:extLst>
        </cdr:cNvPr>
        <cdr:cNvSpPr txBox="1"/>
      </cdr:nvSpPr>
      <cdr:spPr>
        <a:xfrm xmlns:a="http://schemas.openxmlformats.org/drawingml/2006/main">
          <a:off x="1296985" y="2420257"/>
          <a:ext cx="1012826"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dirty="0">
              <a:latin typeface="Segoe UI" panose="020B0502040204020203" pitchFamily="34" charset="0"/>
            </a:rPr>
            <a:t>Illinois</a:t>
          </a:r>
          <a:endParaRPr lang="en-US" sz="1100" dirty="0">
            <a:latin typeface="Segoe UI" panose="020B0502040204020203" pitchFamily="34" charset="0"/>
          </a:endParaRPr>
        </a:p>
      </cdr:txBody>
    </cdr:sp>
  </cdr:relSizeAnchor>
  <cdr:relSizeAnchor xmlns:cdr="http://schemas.openxmlformats.org/drawingml/2006/chartDrawing">
    <cdr:from>
      <cdr:x>0.11738</cdr:x>
      <cdr:y>0.49443</cdr:y>
    </cdr:from>
    <cdr:to>
      <cdr:x>0.20905</cdr:x>
      <cdr:y>0.53943</cdr:y>
    </cdr:to>
    <cdr:sp macro="" textlink="">
      <cdr:nvSpPr>
        <cdr:cNvPr id="9" name="TextBox 8">
          <a:extLst xmlns:a="http://schemas.openxmlformats.org/drawingml/2006/main">
            <a:ext uri="{FF2B5EF4-FFF2-40B4-BE49-F238E27FC236}">
              <a16:creationId xmlns:a16="http://schemas.microsoft.com/office/drawing/2014/main" id="{B2FCE359-9FDA-F082-1676-D2E759F63C59}"/>
            </a:ext>
          </a:extLst>
        </cdr:cNvPr>
        <cdr:cNvSpPr txBox="1"/>
      </cdr:nvSpPr>
      <cdr:spPr>
        <a:xfrm xmlns:a="http://schemas.openxmlformats.org/drawingml/2006/main">
          <a:off x="1296985" y="2093232"/>
          <a:ext cx="1012826"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dirty="0">
              <a:latin typeface="Segoe UI" panose="020B0502040204020203" pitchFamily="34" charset="0"/>
            </a:rPr>
            <a:t>Texas</a:t>
          </a:r>
          <a:endParaRPr lang="en-US" sz="1100" dirty="0">
            <a:latin typeface="Segoe UI" panose="020B0502040204020203" pitchFamily="34" charset="0"/>
          </a:endParaRPr>
        </a:p>
      </cdr:txBody>
    </cdr:sp>
  </cdr:relSizeAnchor>
  <cdr:relSizeAnchor xmlns:cdr="http://schemas.openxmlformats.org/drawingml/2006/chartDrawing">
    <cdr:from>
      <cdr:x>0.11738</cdr:x>
      <cdr:y>0.41643</cdr:y>
    </cdr:from>
    <cdr:to>
      <cdr:x>0.20905</cdr:x>
      <cdr:y>0.46143</cdr:y>
    </cdr:to>
    <cdr:sp macro="" textlink="">
      <cdr:nvSpPr>
        <cdr:cNvPr id="10" name="TextBox 9">
          <a:extLst xmlns:a="http://schemas.openxmlformats.org/drawingml/2006/main">
            <a:ext uri="{FF2B5EF4-FFF2-40B4-BE49-F238E27FC236}">
              <a16:creationId xmlns:a16="http://schemas.microsoft.com/office/drawing/2014/main" id="{1FA0917D-2C16-2773-CD77-4CCD323805C2}"/>
            </a:ext>
          </a:extLst>
        </cdr:cNvPr>
        <cdr:cNvSpPr txBox="1"/>
      </cdr:nvSpPr>
      <cdr:spPr>
        <a:xfrm xmlns:a="http://schemas.openxmlformats.org/drawingml/2006/main">
          <a:off x="1296985" y="1763032"/>
          <a:ext cx="1012826"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dirty="0">
              <a:latin typeface="Segoe UI" panose="020B0502040204020203" pitchFamily="34" charset="0"/>
            </a:rPr>
            <a:t>Colorado</a:t>
          </a:r>
          <a:endParaRPr lang="en-US" sz="1100" dirty="0">
            <a:latin typeface="Segoe UI" panose="020B0502040204020203" pitchFamily="34" charset="0"/>
          </a:endParaRPr>
        </a:p>
      </cdr:txBody>
    </cdr:sp>
  </cdr:relSizeAnchor>
  <cdr:relSizeAnchor xmlns:cdr="http://schemas.openxmlformats.org/drawingml/2006/chartDrawing">
    <cdr:from>
      <cdr:x>0.10388</cdr:x>
      <cdr:y>0.33994</cdr:y>
    </cdr:from>
    <cdr:to>
      <cdr:x>0.20905</cdr:x>
      <cdr:y>0.38494</cdr:y>
    </cdr:to>
    <cdr:sp macro="" textlink="">
      <cdr:nvSpPr>
        <cdr:cNvPr id="11" name="TextBox 10">
          <a:extLst xmlns:a="http://schemas.openxmlformats.org/drawingml/2006/main">
            <a:ext uri="{FF2B5EF4-FFF2-40B4-BE49-F238E27FC236}">
              <a16:creationId xmlns:a16="http://schemas.microsoft.com/office/drawing/2014/main" id="{D60F21DE-C086-B71E-569D-AADBFEE620FD}"/>
            </a:ext>
          </a:extLst>
        </cdr:cNvPr>
        <cdr:cNvSpPr txBox="1"/>
      </cdr:nvSpPr>
      <cdr:spPr>
        <a:xfrm xmlns:a="http://schemas.openxmlformats.org/drawingml/2006/main">
          <a:off x="1147760" y="1439182"/>
          <a:ext cx="1162051"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dirty="0">
              <a:latin typeface="Segoe UI" panose="020B0502040204020203" pitchFamily="34" charset="0"/>
            </a:rPr>
            <a:t>North Carolina</a:t>
          </a:r>
          <a:endParaRPr lang="en-US" sz="1100" dirty="0">
            <a:latin typeface="Segoe UI" panose="020B0502040204020203" pitchFamily="34" charset="0"/>
          </a:endParaRPr>
        </a:p>
      </cdr:txBody>
    </cdr:sp>
  </cdr:relSizeAnchor>
  <cdr:relSizeAnchor xmlns:cdr="http://schemas.openxmlformats.org/drawingml/2006/chartDrawing">
    <cdr:from>
      <cdr:x>0.10388</cdr:x>
      <cdr:y>0.2627</cdr:y>
    </cdr:from>
    <cdr:to>
      <cdr:x>0.20905</cdr:x>
      <cdr:y>0.30769</cdr:y>
    </cdr:to>
    <cdr:sp macro="" textlink="">
      <cdr:nvSpPr>
        <cdr:cNvPr id="12" name="TextBox 11">
          <a:extLst xmlns:a="http://schemas.openxmlformats.org/drawingml/2006/main">
            <a:ext uri="{FF2B5EF4-FFF2-40B4-BE49-F238E27FC236}">
              <a16:creationId xmlns:a16="http://schemas.microsoft.com/office/drawing/2014/main" id="{DF316939-1C6E-BD77-4C90-09039656A032}"/>
            </a:ext>
          </a:extLst>
        </cdr:cNvPr>
        <cdr:cNvSpPr txBox="1"/>
      </cdr:nvSpPr>
      <cdr:spPr>
        <a:xfrm xmlns:a="http://schemas.openxmlformats.org/drawingml/2006/main">
          <a:off x="1147760" y="1112157"/>
          <a:ext cx="1162051"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dirty="0">
              <a:latin typeface="Segoe UI" panose="020B0502040204020203" pitchFamily="34" charset="0"/>
            </a:rPr>
            <a:t>Virginia</a:t>
          </a:r>
          <a:endParaRPr lang="en-US" sz="1100" dirty="0">
            <a:latin typeface="Segoe UI" panose="020B0502040204020203" pitchFamily="34" charset="0"/>
          </a:endParaRPr>
        </a:p>
      </cdr:txBody>
    </cdr:sp>
  </cdr:relSizeAnchor>
  <cdr:relSizeAnchor xmlns:cdr="http://schemas.openxmlformats.org/drawingml/2006/chartDrawing">
    <cdr:from>
      <cdr:x>0.11343</cdr:x>
      <cdr:y>0.18713</cdr:y>
    </cdr:from>
    <cdr:to>
      <cdr:x>0.15855</cdr:x>
      <cdr:y>0.23212</cdr:y>
    </cdr:to>
    <cdr:sp macro="" textlink="">
      <cdr:nvSpPr>
        <cdr:cNvPr id="13" name="TextBox 12">
          <a:extLst xmlns:a="http://schemas.openxmlformats.org/drawingml/2006/main">
            <a:ext uri="{FF2B5EF4-FFF2-40B4-BE49-F238E27FC236}">
              <a16:creationId xmlns:a16="http://schemas.microsoft.com/office/drawing/2014/main" id="{309EB35E-49FE-AC70-F4F8-EEDAD5492296}"/>
            </a:ext>
          </a:extLst>
        </cdr:cNvPr>
        <cdr:cNvSpPr txBox="1"/>
      </cdr:nvSpPr>
      <cdr:spPr>
        <a:xfrm xmlns:a="http://schemas.openxmlformats.org/drawingml/2006/main">
          <a:off x="1253326" y="792226"/>
          <a:ext cx="498478" cy="1905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dirty="0">
              <a:latin typeface="Segoe UI" panose="020B0502040204020203" pitchFamily="34" charset="0"/>
            </a:rPr>
            <a:t>Ohio</a:t>
          </a:r>
          <a:endParaRPr lang="en-US" sz="1100" dirty="0">
            <a:latin typeface="Segoe UI" panose="020B0502040204020203" pitchFamily="34" charset="0"/>
          </a:endParaRPr>
        </a:p>
      </cdr:txBody>
    </cdr:sp>
  </cdr:relSizeAnchor>
  <cdr:relSizeAnchor xmlns:cdr="http://schemas.openxmlformats.org/drawingml/2006/chartDrawing">
    <cdr:from>
      <cdr:x>0.02241</cdr:x>
      <cdr:y>0.10521</cdr:y>
    </cdr:from>
    <cdr:to>
      <cdr:x>0.09461</cdr:x>
      <cdr:y>0.1592</cdr:y>
    </cdr:to>
    <cdr:sp macro="" textlink="">
      <cdr:nvSpPr>
        <cdr:cNvPr id="14" name="TextBox 13">
          <a:extLst xmlns:a="http://schemas.openxmlformats.org/drawingml/2006/main">
            <a:ext uri="{FF2B5EF4-FFF2-40B4-BE49-F238E27FC236}">
              <a16:creationId xmlns:a16="http://schemas.microsoft.com/office/drawing/2014/main" id="{7E944862-CB4C-9421-D996-806D28712D0F}"/>
            </a:ext>
          </a:extLst>
        </cdr:cNvPr>
        <cdr:cNvSpPr txBox="1"/>
      </cdr:nvSpPr>
      <cdr:spPr>
        <a:xfrm xmlns:a="http://schemas.openxmlformats.org/drawingml/2006/main">
          <a:off x="247650" y="445407"/>
          <a:ext cx="797718" cy="228600"/>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pPr algn="r"/>
          <a:r>
            <a:rPr lang="en-US" dirty="0">
              <a:latin typeface="Segoe UI" panose="020B0502040204020203" pitchFamily="34" charset="0"/>
            </a:rPr>
            <a:t>New York</a:t>
          </a:r>
          <a:endParaRPr lang="en-US" sz="1100" dirty="0">
            <a:latin typeface="Segoe UI" panose="020B0502040204020203" pitchFamily="34" charset="0"/>
          </a:endParaRPr>
        </a:p>
      </cdr:txBody>
    </cdr:sp>
  </cdr:relSizeAnchor>
  <cdr:relSizeAnchor xmlns:cdr="http://schemas.openxmlformats.org/drawingml/2006/chartDrawing">
    <cdr:from>
      <cdr:x>0</cdr:x>
      <cdr:y>0.03302</cdr:y>
    </cdr:from>
    <cdr:to>
      <cdr:x>0.07184</cdr:x>
      <cdr:y>0.08196</cdr:y>
    </cdr:to>
    <cdr:sp macro="" textlink="">
      <cdr:nvSpPr>
        <cdr:cNvPr id="15" name="TextBox 14">
          <a:extLst xmlns:a="http://schemas.openxmlformats.org/drawingml/2006/main">
            <a:ext uri="{FF2B5EF4-FFF2-40B4-BE49-F238E27FC236}">
              <a16:creationId xmlns:a16="http://schemas.microsoft.com/office/drawing/2014/main" id="{2BA70670-3CB6-59B9-BF89-8E4D77458981}"/>
            </a:ext>
          </a:extLst>
        </cdr:cNvPr>
        <cdr:cNvSpPr txBox="1"/>
      </cdr:nvSpPr>
      <cdr:spPr>
        <a:xfrm xmlns:a="http://schemas.openxmlformats.org/drawingml/2006/main">
          <a:off x="0" y="139814"/>
          <a:ext cx="793749" cy="207168"/>
        </a:xfrm>
        <a:prstGeom xmlns:a="http://schemas.openxmlformats.org/drawingml/2006/main" prst="rect">
          <a:avLst/>
        </a:prstGeom>
      </cdr:spPr>
      <cdr:txBody>
        <a:bodyPr xmlns:a="http://schemas.openxmlformats.org/drawingml/2006/main" vertOverflow="clip" wrap="square" lIns="0" tIns="0" rIns="0" bIns="0" rtlCol="0" anchor="ctr"/>
        <a:lstStyle xmlns:a="http://schemas.openxmlformats.org/drawingml/2006/main"/>
        <a:p xmlns:a="http://schemas.openxmlformats.org/drawingml/2006/main">
          <a:pPr algn="r"/>
          <a:r>
            <a:rPr lang="en-US" sz="1100" dirty="0">
              <a:latin typeface="Segoe UI" panose="020B0502040204020203" pitchFamily="34" charset="0"/>
            </a:rPr>
            <a:t>Washington</a:t>
          </a:r>
        </a:p>
      </cdr:txBody>
    </cdr:sp>
  </cdr:relSizeAnchor>
  <cdr:relSizeAnchor xmlns:cdr="http://schemas.openxmlformats.org/drawingml/2006/chartDrawing">
    <cdr:from>
      <cdr:x>0.14325</cdr:x>
      <cdr:y>0.47836</cdr:y>
    </cdr:from>
    <cdr:to>
      <cdr:x>0.36817</cdr:x>
      <cdr:y>0.55338</cdr:y>
    </cdr:to>
    <cdr:sp macro="" textlink="">
      <cdr:nvSpPr>
        <cdr:cNvPr id="16" name="Rectangle 15">
          <a:extLst xmlns:a="http://schemas.openxmlformats.org/drawingml/2006/main">
            <a:ext uri="{FF2B5EF4-FFF2-40B4-BE49-F238E27FC236}">
              <a16:creationId xmlns:a16="http://schemas.microsoft.com/office/drawing/2014/main" id="{D53A887A-44A5-5A39-37E9-4C5BF1D73566}"/>
            </a:ext>
          </a:extLst>
        </cdr:cNvPr>
        <cdr:cNvSpPr/>
      </cdr:nvSpPr>
      <cdr:spPr>
        <a:xfrm xmlns:a="http://schemas.openxmlformats.org/drawingml/2006/main">
          <a:off x="1582736" y="2025187"/>
          <a:ext cx="2485140" cy="317633"/>
        </a:xfrm>
        <a:prstGeom xmlns:a="http://schemas.openxmlformats.org/drawingml/2006/main" prst="rect">
          <a:avLst/>
        </a:prstGeom>
        <a:noFill xmlns:a="http://schemas.openxmlformats.org/drawingml/2006/main"/>
        <a:ln xmlns:a="http://schemas.openxmlformats.org/drawingml/2006/main" w="19050">
          <a:solidFill>
            <a:srgbClr val="F2685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13551</cdr:x>
      <cdr:y>0.11818</cdr:y>
    </cdr:from>
    <cdr:to>
      <cdr:x>0.31604</cdr:x>
      <cdr:y>0.3049</cdr:y>
    </cdr:to>
    <cdr:cxnSp macro="">
      <cdr:nvCxnSpPr>
        <cdr:cNvPr id="2" name="Straight Arrow Connector 1">
          <a:extLst xmlns:a="http://schemas.openxmlformats.org/drawingml/2006/main">
            <a:ext uri="{FF2B5EF4-FFF2-40B4-BE49-F238E27FC236}">
              <a16:creationId xmlns:a16="http://schemas.microsoft.com/office/drawing/2014/main" id="{07874DC3-2000-48ED-586B-05AEC8484B62}"/>
            </a:ext>
          </a:extLst>
        </cdr:cNvPr>
        <cdr:cNvCxnSpPr>
          <a:cxnSpLocks xmlns:a="http://schemas.openxmlformats.org/drawingml/2006/main"/>
        </cdr:cNvCxnSpPr>
      </cdr:nvCxnSpPr>
      <cdr:spPr>
        <a:xfrm xmlns:a="http://schemas.openxmlformats.org/drawingml/2006/main">
          <a:off x="1452104" y="493963"/>
          <a:ext cx="1934492" cy="780469"/>
        </a:xfrm>
        <a:prstGeom xmlns:a="http://schemas.openxmlformats.org/drawingml/2006/main" prst="straightConnector1">
          <a:avLst/>
        </a:prstGeom>
        <a:ln xmlns:a="http://schemas.openxmlformats.org/drawingml/2006/main" w="9525">
          <a:solidFill>
            <a:srgbClr val="C0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8889</cdr:x>
      <cdr:y>0.15085</cdr:y>
    </cdr:from>
    <cdr:to>
      <cdr:x>0.26267</cdr:x>
      <cdr:y>0.23397</cdr:y>
    </cdr:to>
    <cdr:sp macro="" textlink="">
      <cdr:nvSpPr>
        <cdr:cNvPr id="3" name="TextBox 1">
          <a:extLst xmlns:a="http://schemas.openxmlformats.org/drawingml/2006/main">
            <a:ext uri="{FF2B5EF4-FFF2-40B4-BE49-F238E27FC236}">
              <a16:creationId xmlns:a16="http://schemas.microsoft.com/office/drawing/2014/main" id="{9463C68E-8F45-8C82-AF73-4AC2D4ABDF85}"/>
            </a:ext>
          </a:extLst>
        </cdr:cNvPr>
        <cdr:cNvSpPr txBox="1"/>
      </cdr:nvSpPr>
      <cdr:spPr>
        <a:xfrm xmlns:a="http://schemas.openxmlformats.org/drawingml/2006/main">
          <a:off x="2024062" y="630533"/>
          <a:ext cx="790575" cy="347433"/>
        </a:xfrm>
        <a:prstGeom xmlns:a="http://schemas.openxmlformats.org/drawingml/2006/main" prst="rect">
          <a:avLst/>
        </a:prstGeom>
        <a:solidFill xmlns:a="http://schemas.openxmlformats.org/drawingml/2006/main">
          <a:schemeClr val="bg1"/>
        </a:solidFill>
      </cdr:spPr>
      <cdr:txBody>
        <a:bodyPr xmlns:a="http://schemas.openxmlformats.org/drawingml/2006/main" wrap="square" rtlCol="0"/>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800" b="1" dirty="0">
              <a:solidFill>
                <a:srgbClr val="C00000"/>
              </a:solidFill>
              <a:latin typeface="Segoe UI" panose="020B0502040204020203" pitchFamily="34" charset="0"/>
              <a:cs typeface="Segoe UI" panose="020B0502040204020203" pitchFamily="34" charset="0"/>
            </a:rPr>
            <a:t>-11%</a:t>
          </a:r>
        </a:p>
      </cdr:txBody>
    </cdr:sp>
  </cdr:relSizeAnchor>
  <cdr:relSizeAnchor xmlns:cdr="http://schemas.openxmlformats.org/drawingml/2006/chartDrawing">
    <cdr:from>
      <cdr:x>0.75111</cdr:x>
      <cdr:y>0.01671</cdr:y>
    </cdr:from>
    <cdr:to>
      <cdr:x>0.91556</cdr:x>
      <cdr:y>0.297</cdr:y>
    </cdr:to>
    <cdr:cxnSp macro="">
      <cdr:nvCxnSpPr>
        <cdr:cNvPr id="6" name="Straight Arrow Connector 5">
          <a:extLst xmlns:a="http://schemas.openxmlformats.org/drawingml/2006/main">
            <a:ext uri="{FF2B5EF4-FFF2-40B4-BE49-F238E27FC236}">
              <a16:creationId xmlns:a16="http://schemas.microsoft.com/office/drawing/2014/main" id="{07874DC3-2000-48ED-586B-05AEC8484B62}"/>
            </a:ext>
          </a:extLst>
        </cdr:cNvPr>
        <cdr:cNvCxnSpPr>
          <a:cxnSpLocks xmlns:a="http://schemas.openxmlformats.org/drawingml/2006/main"/>
        </cdr:cNvCxnSpPr>
      </cdr:nvCxnSpPr>
      <cdr:spPr>
        <a:xfrm xmlns:a="http://schemas.openxmlformats.org/drawingml/2006/main">
          <a:off x="8048624" y="69850"/>
          <a:ext cx="1762125" cy="1171575"/>
        </a:xfrm>
        <a:prstGeom xmlns:a="http://schemas.openxmlformats.org/drawingml/2006/main" prst="straightConnector1">
          <a:avLst/>
        </a:prstGeom>
        <a:ln xmlns:a="http://schemas.openxmlformats.org/drawingml/2006/main" w="9525">
          <a:solidFill>
            <a:srgbClr val="C0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035</cdr:x>
      <cdr:y>0.10929</cdr:y>
    </cdr:from>
    <cdr:to>
      <cdr:x>0.87728</cdr:x>
      <cdr:y>0.19241</cdr:y>
    </cdr:to>
    <cdr:sp macro="" textlink="">
      <cdr:nvSpPr>
        <cdr:cNvPr id="7" name="TextBox 1">
          <a:extLst xmlns:a="http://schemas.openxmlformats.org/drawingml/2006/main">
            <a:ext uri="{FF2B5EF4-FFF2-40B4-BE49-F238E27FC236}">
              <a16:creationId xmlns:a16="http://schemas.microsoft.com/office/drawing/2014/main" id="{9463C68E-8F45-8C82-AF73-4AC2D4ABDF85}"/>
            </a:ext>
          </a:extLst>
        </cdr:cNvPr>
        <cdr:cNvSpPr txBox="1"/>
      </cdr:nvSpPr>
      <cdr:spPr>
        <a:xfrm xmlns:a="http://schemas.openxmlformats.org/drawingml/2006/main">
          <a:off x="8609992" y="456816"/>
          <a:ext cx="790575" cy="347433"/>
        </a:xfrm>
        <a:prstGeom xmlns:a="http://schemas.openxmlformats.org/drawingml/2006/main" prst="rect">
          <a:avLst/>
        </a:prstGeom>
        <a:solidFill xmlns:a="http://schemas.openxmlformats.org/drawingml/2006/main">
          <a:schemeClr val="bg1"/>
        </a:solidFill>
      </cdr:spPr>
      <cdr:txBody>
        <a:bodyPr xmlns:a="http://schemas.openxmlformats.org/drawingml/2006/main" wrap="square" rtlCol="0"/>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800" b="1" dirty="0">
              <a:solidFill>
                <a:srgbClr val="C00000"/>
              </a:solidFill>
              <a:latin typeface="Segoe UI" panose="020B0502040204020203" pitchFamily="34" charset="0"/>
              <a:cs typeface="Segoe UI" panose="020B0502040204020203" pitchFamily="34" charset="0"/>
            </a:rPr>
            <a:t>-18%</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4B1DA58-A7F7-1A4E-B160-79BFCB70BE8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C3B2A71A-4049-EE1E-CCB7-4042C49ACA0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2C78ECD-8A8F-411B-8433-7994A5096A20}" type="datetimeFigureOut">
              <a:rPr lang="en-GB" smtClean="0"/>
              <a:t>10/08/2022</a:t>
            </a:fld>
            <a:endParaRPr lang="en-GB"/>
          </a:p>
        </p:txBody>
      </p:sp>
      <p:sp>
        <p:nvSpPr>
          <p:cNvPr id="4" name="Footer Placeholder 3">
            <a:extLst>
              <a:ext uri="{FF2B5EF4-FFF2-40B4-BE49-F238E27FC236}">
                <a16:creationId xmlns:a16="http://schemas.microsoft.com/office/drawing/2014/main" id="{AC551346-154D-4AC4-F853-74443B249F5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E4609477-EBC7-5EFB-7BA0-03621848AF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A156632-5148-4176-8839-3BC596470222}" type="slidenum">
              <a:rPr lang="en-GB" smtClean="0"/>
              <a:t>‹#›</a:t>
            </a:fld>
            <a:endParaRPr lang="en-GB"/>
          </a:p>
        </p:txBody>
      </p:sp>
    </p:spTree>
    <p:extLst>
      <p:ext uri="{BB962C8B-B14F-4D97-AF65-F5344CB8AC3E}">
        <p14:creationId xmlns:p14="http://schemas.microsoft.com/office/powerpoint/2010/main" val="36110956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7EB5D45-4C1F-4186-B602-0F546723A7E6}" type="datetimeFigureOut">
              <a:rPr lang="en-GB" smtClean="0"/>
              <a:t>10/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6D2ABF-DB5F-45C1-866E-9BCA5C9BF7D2}" type="slidenum">
              <a:rPr lang="en-GB" smtClean="0"/>
              <a:t>‹#›</a:t>
            </a:fld>
            <a:endParaRPr lang="en-GB"/>
          </a:p>
        </p:txBody>
      </p:sp>
    </p:spTree>
    <p:extLst>
      <p:ext uri="{BB962C8B-B14F-4D97-AF65-F5344CB8AC3E}">
        <p14:creationId xmlns:p14="http://schemas.microsoft.com/office/powerpoint/2010/main" val="2386933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D2ABF-DB5F-45C1-866E-9BCA5C9BF7D2}" type="slidenum">
              <a:rPr lang="en-GB" smtClean="0"/>
              <a:t>1</a:t>
            </a:fld>
            <a:endParaRPr lang="en-GB"/>
          </a:p>
        </p:txBody>
      </p:sp>
    </p:spTree>
    <p:extLst>
      <p:ext uri="{BB962C8B-B14F-4D97-AF65-F5344CB8AC3E}">
        <p14:creationId xmlns:p14="http://schemas.microsoft.com/office/powerpoint/2010/main" val="2107312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D2ABF-DB5F-45C1-866E-9BCA5C9BF7D2}" type="slidenum">
              <a:rPr lang="en-GB" smtClean="0"/>
              <a:t>20</a:t>
            </a:fld>
            <a:endParaRPr lang="en-GB"/>
          </a:p>
        </p:txBody>
      </p:sp>
    </p:spTree>
    <p:extLst>
      <p:ext uri="{BB962C8B-B14F-4D97-AF65-F5344CB8AC3E}">
        <p14:creationId xmlns:p14="http://schemas.microsoft.com/office/powerpoint/2010/main" val="10414852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1"/>
        <p:cNvGrpSpPr/>
        <p:nvPr/>
      </p:nvGrpSpPr>
      <p:grpSpPr>
        <a:xfrm>
          <a:off x="0" y="0"/>
          <a:ext cx="0" cy="0"/>
          <a:chOff x="0" y="0"/>
          <a:chExt cx="0" cy="0"/>
        </a:xfrm>
      </p:grpSpPr>
      <p:sp>
        <p:nvSpPr>
          <p:cNvPr id="642" name="Google Shape;642;p3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3" name="Google Shape;643;p3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n-US" sz="1200" b="0" i="0" dirty="0">
              <a:solidFill>
                <a:schemeClr val="dk1"/>
              </a:solidFill>
            </a:endParaRPr>
          </a:p>
        </p:txBody>
      </p:sp>
      <p:sp>
        <p:nvSpPr>
          <p:cNvPr id="644" name="Google Shape;644;p3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1</a:t>
            </a:fld>
            <a:endParaRPr/>
          </a:p>
        </p:txBody>
      </p:sp>
    </p:spTree>
    <p:extLst>
      <p:ext uri="{BB962C8B-B14F-4D97-AF65-F5344CB8AC3E}">
        <p14:creationId xmlns:p14="http://schemas.microsoft.com/office/powerpoint/2010/main" val="3542739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D2ABF-DB5F-45C1-866E-9BCA5C9BF7D2}" type="slidenum">
              <a:rPr lang="en-GB" smtClean="0"/>
              <a:t>2</a:t>
            </a:fld>
            <a:endParaRPr lang="en-GB"/>
          </a:p>
        </p:txBody>
      </p:sp>
    </p:spTree>
    <p:extLst>
      <p:ext uri="{BB962C8B-B14F-4D97-AF65-F5344CB8AC3E}">
        <p14:creationId xmlns:p14="http://schemas.microsoft.com/office/powerpoint/2010/main" val="1349951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BDAD36-5C01-774A-8FC9-748A495FFCC2}"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725062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BDAD36-5C01-774A-8FC9-748A495FFCC2}" type="slidenum">
              <a:rPr lang="en-US" smtClean="0"/>
              <a:t>5</a:t>
            </a:fld>
            <a:endParaRPr lang="en-US"/>
          </a:p>
        </p:txBody>
      </p:sp>
    </p:spTree>
    <p:extLst>
      <p:ext uri="{BB962C8B-B14F-4D97-AF65-F5344CB8AC3E}">
        <p14:creationId xmlns:p14="http://schemas.microsoft.com/office/powerpoint/2010/main" val="1626721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BDAD36-5C01-774A-8FC9-748A495FFCC2}"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929724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BDAD36-5C01-774A-8FC9-748A495FFC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4127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D2ABF-DB5F-45C1-866E-9BCA5C9BF7D2}" type="slidenum">
              <a:rPr lang="en-GB" smtClean="0"/>
              <a:t>12</a:t>
            </a:fld>
            <a:endParaRPr lang="en-GB"/>
          </a:p>
        </p:txBody>
      </p:sp>
    </p:spTree>
    <p:extLst>
      <p:ext uri="{BB962C8B-B14F-4D97-AF65-F5344CB8AC3E}">
        <p14:creationId xmlns:p14="http://schemas.microsoft.com/office/powerpoint/2010/main" val="1795815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D2ABF-DB5F-45C1-866E-9BCA5C9BF7D2}" type="slidenum">
              <a:rPr lang="en-GB" smtClean="0"/>
              <a:t>15</a:t>
            </a:fld>
            <a:endParaRPr lang="en-GB"/>
          </a:p>
        </p:txBody>
      </p:sp>
    </p:spTree>
    <p:extLst>
      <p:ext uri="{BB962C8B-B14F-4D97-AF65-F5344CB8AC3E}">
        <p14:creationId xmlns:p14="http://schemas.microsoft.com/office/powerpoint/2010/main" val="3628987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D2ABF-DB5F-45C1-866E-9BCA5C9BF7D2}" type="slidenum">
              <a:rPr lang="en-GB" smtClean="0"/>
              <a:t>19</a:t>
            </a:fld>
            <a:endParaRPr lang="en-GB"/>
          </a:p>
        </p:txBody>
      </p:sp>
    </p:spTree>
    <p:extLst>
      <p:ext uri="{BB962C8B-B14F-4D97-AF65-F5344CB8AC3E}">
        <p14:creationId xmlns:p14="http://schemas.microsoft.com/office/powerpoint/2010/main" val="36053314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20D93AF-1A3E-D4CF-3450-1FA94B8F8E9C}"/>
              </a:ext>
            </a:extLst>
          </p:cNvPr>
          <p:cNvSpPr/>
          <p:nvPr userDrawn="1"/>
        </p:nvSpPr>
        <p:spPr>
          <a:xfrm>
            <a:off x="-1" y="4953000"/>
            <a:ext cx="2276471" cy="190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119DAE94-0055-0826-CE91-F6E4FE04B65A}"/>
              </a:ext>
            </a:extLst>
          </p:cNvPr>
          <p:cNvSpPr/>
          <p:nvPr userDrawn="1"/>
        </p:nvSpPr>
        <p:spPr>
          <a:xfrm>
            <a:off x="-1" y="0"/>
            <a:ext cx="7187621" cy="4953000"/>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7835DB40-C0DE-8D62-B9D9-FB7D8E0D0A5B}"/>
              </a:ext>
            </a:extLst>
          </p:cNvPr>
          <p:cNvSpPr>
            <a:spLocks noGrp="1"/>
          </p:cNvSpPr>
          <p:nvPr>
            <p:ph type="pic" sz="quarter" idx="10"/>
          </p:nvPr>
        </p:nvSpPr>
        <p:spPr>
          <a:xfrm>
            <a:off x="7188200" y="0"/>
            <a:ext cx="5003800" cy="6858000"/>
          </a:xfrm>
          <a:prstGeom prst="rect">
            <a:avLst/>
          </a:prstGeom>
        </p:spPr>
        <p:txBody>
          <a:bodyPr anchor="ctr"/>
          <a:lstStyle>
            <a:lvl1pPr marL="0" indent="0" algn="ctr">
              <a:buNone/>
              <a:defRPr/>
            </a:lvl1pPr>
          </a:lstStyle>
          <a:p>
            <a:endParaRPr lang="en-GB" dirty="0"/>
          </a:p>
        </p:txBody>
      </p:sp>
      <p:sp>
        <p:nvSpPr>
          <p:cNvPr id="8" name="Picture Placeholder 7">
            <a:extLst>
              <a:ext uri="{FF2B5EF4-FFF2-40B4-BE49-F238E27FC236}">
                <a16:creationId xmlns:a16="http://schemas.microsoft.com/office/drawing/2014/main" id="{888E02E3-D79E-2352-1E2E-770CD74AB3E4}"/>
              </a:ext>
            </a:extLst>
          </p:cNvPr>
          <p:cNvSpPr>
            <a:spLocks noGrp="1"/>
          </p:cNvSpPr>
          <p:nvPr>
            <p:ph type="pic" sz="quarter" idx="11" hasCustomPrompt="1"/>
          </p:nvPr>
        </p:nvSpPr>
        <p:spPr>
          <a:xfrm>
            <a:off x="285750" y="5334000"/>
            <a:ext cx="1724025" cy="1095375"/>
          </a:xfrm>
          <a:prstGeom prst="rect">
            <a:avLst/>
          </a:prstGeom>
        </p:spPr>
        <p:txBody>
          <a:bodyPr anchor="ctr"/>
          <a:lstStyle>
            <a:lvl1pPr marL="0" indent="0" algn="ctr">
              <a:buNone/>
              <a:defRPr sz="2000"/>
            </a:lvl1pPr>
          </a:lstStyle>
          <a:p>
            <a:r>
              <a:rPr lang="en-US" dirty="0"/>
              <a:t>Logo</a:t>
            </a:r>
            <a:endParaRPr lang="en-GB" dirty="0"/>
          </a:p>
        </p:txBody>
      </p:sp>
      <p:sp>
        <p:nvSpPr>
          <p:cNvPr id="10" name="Picture Placeholder 7">
            <a:extLst>
              <a:ext uri="{FF2B5EF4-FFF2-40B4-BE49-F238E27FC236}">
                <a16:creationId xmlns:a16="http://schemas.microsoft.com/office/drawing/2014/main" id="{8CBFCA74-6538-C3BE-F164-65004B9D785E}"/>
              </a:ext>
            </a:extLst>
          </p:cNvPr>
          <p:cNvSpPr>
            <a:spLocks noGrp="1"/>
          </p:cNvSpPr>
          <p:nvPr>
            <p:ph type="pic" sz="quarter" idx="12" hasCustomPrompt="1"/>
          </p:nvPr>
        </p:nvSpPr>
        <p:spPr>
          <a:xfrm>
            <a:off x="2731796" y="5334000"/>
            <a:ext cx="1724025" cy="1095375"/>
          </a:xfrm>
          <a:prstGeom prst="rect">
            <a:avLst/>
          </a:prstGeom>
        </p:spPr>
        <p:txBody>
          <a:bodyPr anchor="ctr"/>
          <a:lstStyle>
            <a:lvl1pPr marL="0" indent="0" algn="ctr">
              <a:buNone/>
              <a:defRPr sz="2000"/>
            </a:lvl1pPr>
          </a:lstStyle>
          <a:p>
            <a:r>
              <a:rPr lang="en-US" dirty="0"/>
              <a:t>Logo</a:t>
            </a:r>
            <a:endParaRPr lang="en-GB" dirty="0"/>
          </a:p>
        </p:txBody>
      </p:sp>
      <p:sp>
        <p:nvSpPr>
          <p:cNvPr id="11" name="Picture Placeholder 7">
            <a:extLst>
              <a:ext uri="{FF2B5EF4-FFF2-40B4-BE49-F238E27FC236}">
                <a16:creationId xmlns:a16="http://schemas.microsoft.com/office/drawing/2014/main" id="{128985B6-0D72-1466-74D4-E21E62D4D55F}"/>
              </a:ext>
            </a:extLst>
          </p:cNvPr>
          <p:cNvSpPr>
            <a:spLocks noGrp="1"/>
          </p:cNvSpPr>
          <p:nvPr>
            <p:ph type="pic" sz="quarter" idx="13" hasCustomPrompt="1"/>
          </p:nvPr>
        </p:nvSpPr>
        <p:spPr>
          <a:xfrm>
            <a:off x="4959998" y="5333999"/>
            <a:ext cx="1724025" cy="1095375"/>
          </a:xfrm>
          <a:prstGeom prst="rect">
            <a:avLst/>
          </a:prstGeom>
        </p:spPr>
        <p:txBody>
          <a:bodyPr anchor="ctr"/>
          <a:lstStyle>
            <a:lvl1pPr marL="0" indent="0" algn="ctr">
              <a:buNone/>
              <a:defRPr sz="2000"/>
            </a:lvl1pPr>
          </a:lstStyle>
          <a:p>
            <a:r>
              <a:rPr lang="en-US" dirty="0"/>
              <a:t>Logo</a:t>
            </a:r>
            <a:endParaRPr lang="en-GB" dirty="0"/>
          </a:p>
        </p:txBody>
      </p:sp>
      <p:sp>
        <p:nvSpPr>
          <p:cNvPr id="13" name="Text Placeholder 12">
            <a:extLst>
              <a:ext uri="{FF2B5EF4-FFF2-40B4-BE49-F238E27FC236}">
                <a16:creationId xmlns:a16="http://schemas.microsoft.com/office/drawing/2014/main" id="{B48393AD-5026-C432-95EA-97450B4316A7}"/>
              </a:ext>
            </a:extLst>
          </p:cNvPr>
          <p:cNvSpPr>
            <a:spLocks noGrp="1"/>
          </p:cNvSpPr>
          <p:nvPr>
            <p:ph type="body" sz="quarter" idx="14" hasCustomPrompt="1"/>
          </p:nvPr>
        </p:nvSpPr>
        <p:spPr>
          <a:xfrm>
            <a:off x="766763" y="790575"/>
            <a:ext cx="5595937" cy="1552575"/>
          </a:xfrm>
          <a:prstGeom prst="rect">
            <a:avLst/>
          </a:prstGeom>
        </p:spPr>
        <p:txBody>
          <a:bodyPr anchor="b"/>
          <a:lstStyle>
            <a:lvl1pPr marL="0" indent="0">
              <a:buNone/>
              <a:defRPr sz="3600" b="1">
                <a:solidFill>
                  <a:schemeClr val="bg1"/>
                </a:solidFill>
              </a:defRPr>
            </a:lvl1pPr>
          </a:lstStyle>
          <a:p>
            <a:pPr lvl="0"/>
            <a:r>
              <a:rPr lang="en-US" dirty="0"/>
              <a:t>Click to edit Title</a:t>
            </a:r>
          </a:p>
        </p:txBody>
      </p:sp>
      <p:sp>
        <p:nvSpPr>
          <p:cNvPr id="14" name="Text Placeholder 21">
            <a:extLst>
              <a:ext uri="{FF2B5EF4-FFF2-40B4-BE49-F238E27FC236}">
                <a16:creationId xmlns:a16="http://schemas.microsoft.com/office/drawing/2014/main" id="{6D2E4ABD-1B25-552A-8782-55E8105E6A6C}"/>
              </a:ext>
            </a:extLst>
          </p:cNvPr>
          <p:cNvSpPr>
            <a:spLocks noGrp="1"/>
          </p:cNvSpPr>
          <p:nvPr>
            <p:ph type="body" sz="quarter" idx="15" hasCustomPrompt="1"/>
          </p:nvPr>
        </p:nvSpPr>
        <p:spPr>
          <a:xfrm>
            <a:off x="766763" y="2476500"/>
            <a:ext cx="5595937" cy="1025525"/>
          </a:xfrm>
          <a:prstGeom prst="rect">
            <a:avLst/>
          </a:prstGeom>
        </p:spPr>
        <p:txBody>
          <a:bodyPr/>
          <a:lstStyle>
            <a:lvl1pPr marL="0" indent="0">
              <a:buNone/>
              <a:defRPr sz="2000" b="1">
                <a:solidFill>
                  <a:schemeClr val="accent1"/>
                </a:solidFill>
              </a:defRPr>
            </a:lvl1pPr>
          </a:lstStyle>
          <a:p>
            <a:pPr lvl="0"/>
            <a:r>
              <a:rPr lang="en-US" dirty="0"/>
              <a:t>Click to edit Subtitle</a:t>
            </a:r>
          </a:p>
        </p:txBody>
      </p:sp>
    </p:spTree>
    <p:extLst>
      <p:ext uri="{BB962C8B-B14F-4D97-AF65-F5344CB8AC3E}">
        <p14:creationId xmlns:p14="http://schemas.microsoft.com/office/powerpoint/2010/main" val="11929175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oin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81D1C3-3B34-C9C1-1928-DEB8089358F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Slide Number Placeholder 5">
            <a:extLst>
              <a:ext uri="{FF2B5EF4-FFF2-40B4-BE49-F238E27FC236}">
                <a16:creationId xmlns:a16="http://schemas.microsoft.com/office/drawing/2014/main" id="{302FA71A-A6CE-84BE-0779-87611BF3098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1" name="Picture 10">
            <a:extLst>
              <a:ext uri="{FF2B5EF4-FFF2-40B4-BE49-F238E27FC236}">
                <a16:creationId xmlns:a16="http://schemas.microsoft.com/office/drawing/2014/main" id="{66992041-2E44-830E-9B4D-CC831B5884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Oval 14">
            <a:extLst>
              <a:ext uri="{FF2B5EF4-FFF2-40B4-BE49-F238E27FC236}">
                <a16:creationId xmlns:a16="http://schemas.microsoft.com/office/drawing/2014/main" id="{CC5A56EF-1A21-82AD-26F4-AD25B26B9C21}"/>
              </a:ext>
            </a:extLst>
          </p:cNvPr>
          <p:cNvSpPr/>
          <p:nvPr userDrawn="1"/>
        </p:nvSpPr>
        <p:spPr>
          <a:xfrm>
            <a:off x="767634" y="1498994"/>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AB39687-243F-84A7-643F-A2F8F7880F64}"/>
              </a:ext>
            </a:extLst>
          </p:cNvPr>
          <p:cNvSpPr/>
          <p:nvPr userDrawn="1"/>
        </p:nvSpPr>
        <p:spPr>
          <a:xfrm>
            <a:off x="767634" y="2602436"/>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99DBC6DF-3804-73AD-1958-B7CBBCBD79B5}"/>
              </a:ext>
            </a:extLst>
          </p:cNvPr>
          <p:cNvSpPr/>
          <p:nvPr userDrawn="1"/>
        </p:nvSpPr>
        <p:spPr>
          <a:xfrm>
            <a:off x="767634" y="3705878"/>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56D86F31-4495-6B25-4CD2-07C6B2095788}"/>
              </a:ext>
            </a:extLst>
          </p:cNvPr>
          <p:cNvSpPr/>
          <p:nvPr userDrawn="1"/>
        </p:nvSpPr>
        <p:spPr>
          <a:xfrm>
            <a:off x="767634" y="4809319"/>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C9DA58AF-B45C-10F5-1233-2C09BC2B9B5B}"/>
              </a:ext>
            </a:extLst>
          </p:cNvPr>
          <p:cNvSpPr txBox="1"/>
          <p:nvPr userDrawn="1"/>
        </p:nvSpPr>
        <p:spPr>
          <a:xfrm>
            <a:off x="767634" y="1517571"/>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1</a:t>
            </a:r>
          </a:p>
        </p:txBody>
      </p:sp>
      <p:sp>
        <p:nvSpPr>
          <p:cNvPr id="24" name="TextBox 23">
            <a:extLst>
              <a:ext uri="{FF2B5EF4-FFF2-40B4-BE49-F238E27FC236}">
                <a16:creationId xmlns:a16="http://schemas.microsoft.com/office/drawing/2014/main" id="{EAEE2D8E-6E02-8479-8FDD-66629420728B}"/>
              </a:ext>
            </a:extLst>
          </p:cNvPr>
          <p:cNvSpPr txBox="1"/>
          <p:nvPr userDrawn="1"/>
        </p:nvSpPr>
        <p:spPr>
          <a:xfrm>
            <a:off x="766763" y="2621013"/>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2</a:t>
            </a:r>
          </a:p>
        </p:txBody>
      </p:sp>
      <p:sp>
        <p:nvSpPr>
          <p:cNvPr id="25" name="TextBox 24">
            <a:extLst>
              <a:ext uri="{FF2B5EF4-FFF2-40B4-BE49-F238E27FC236}">
                <a16:creationId xmlns:a16="http://schemas.microsoft.com/office/drawing/2014/main" id="{2FA8D5CE-C6CC-893E-086D-8FFA985F598E}"/>
              </a:ext>
            </a:extLst>
          </p:cNvPr>
          <p:cNvSpPr txBox="1"/>
          <p:nvPr userDrawn="1"/>
        </p:nvSpPr>
        <p:spPr>
          <a:xfrm>
            <a:off x="765892" y="3724455"/>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3</a:t>
            </a:r>
          </a:p>
        </p:txBody>
      </p:sp>
      <p:sp>
        <p:nvSpPr>
          <p:cNvPr id="26" name="TextBox 25">
            <a:extLst>
              <a:ext uri="{FF2B5EF4-FFF2-40B4-BE49-F238E27FC236}">
                <a16:creationId xmlns:a16="http://schemas.microsoft.com/office/drawing/2014/main" id="{0CF7E23B-1177-A7E3-BB37-80E5E77EC106}"/>
              </a:ext>
            </a:extLst>
          </p:cNvPr>
          <p:cNvSpPr txBox="1"/>
          <p:nvPr userDrawn="1"/>
        </p:nvSpPr>
        <p:spPr>
          <a:xfrm>
            <a:off x="765021" y="4827897"/>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4</a:t>
            </a:r>
          </a:p>
        </p:txBody>
      </p:sp>
      <p:sp>
        <p:nvSpPr>
          <p:cNvPr id="30" name="Text Placeholder 2">
            <a:extLst>
              <a:ext uri="{FF2B5EF4-FFF2-40B4-BE49-F238E27FC236}">
                <a16:creationId xmlns:a16="http://schemas.microsoft.com/office/drawing/2014/main" id="{B079D1C1-243A-C65D-C355-3EA60A04817A}"/>
              </a:ext>
            </a:extLst>
          </p:cNvPr>
          <p:cNvSpPr>
            <a:spLocks noGrp="1"/>
          </p:cNvSpPr>
          <p:nvPr>
            <p:ph idx="1" hasCustomPrompt="1"/>
          </p:nvPr>
        </p:nvSpPr>
        <p:spPr>
          <a:xfrm>
            <a:off x="1062914" y="1364955"/>
            <a:ext cx="10362324"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1" name="Text Placeholder 2">
            <a:extLst>
              <a:ext uri="{FF2B5EF4-FFF2-40B4-BE49-F238E27FC236}">
                <a16:creationId xmlns:a16="http://schemas.microsoft.com/office/drawing/2014/main" id="{00C73C6D-2072-F601-982C-3ED0A7FD244E}"/>
              </a:ext>
            </a:extLst>
          </p:cNvPr>
          <p:cNvSpPr>
            <a:spLocks noGrp="1"/>
          </p:cNvSpPr>
          <p:nvPr>
            <p:ph idx="10" hasCustomPrompt="1"/>
          </p:nvPr>
        </p:nvSpPr>
        <p:spPr>
          <a:xfrm>
            <a:off x="1062914" y="2474034"/>
            <a:ext cx="10361452"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2" name="Text Placeholder 2">
            <a:extLst>
              <a:ext uri="{FF2B5EF4-FFF2-40B4-BE49-F238E27FC236}">
                <a16:creationId xmlns:a16="http://schemas.microsoft.com/office/drawing/2014/main" id="{79767D98-E98C-43FE-D8D2-3A4C8C4D155A}"/>
              </a:ext>
            </a:extLst>
          </p:cNvPr>
          <p:cNvSpPr>
            <a:spLocks noGrp="1"/>
          </p:cNvSpPr>
          <p:nvPr>
            <p:ph idx="11" hasCustomPrompt="1"/>
          </p:nvPr>
        </p:nvSpPr>
        <p:spPr>
          <a:xfrm>
            <a:off x="1063786" y="3567746"/>
            <a:ext cx="10361452"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3" name="Text Placeholder 2">
            <a:extLst>
              <a:ext uri="{FF2B5EF4-FFF2-40B4-BE49-F238E27FC236}">
                <a16:creationId xmlns:a16="http://schemas.microsoft.com/office/drawing/2014/main" id="{124D6786-28F5-F83E-E1E0-E4D41C616AAF}"/>
              </a:ext>
            </a:extLst>
          </p:cNvPr>
          <p:cNvSpPr>
            <a:spLocks noGrp="1"/>
          </p:cNvSpPr>
          <p:nvPr>
            <p:ph idx="12" hasCustomPrompt="1"/>
          </p:nvPr>
        </p:nvSpPr>
        <p:spPr>
          <a:xfrm>
            <a:off x="1062914" y="4677438"/>
            <a:ext cx="10361452"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4" name="Title Placeholder 1">
            <a:extLst>
              <a:ext uri="{FF2B5EF4-FFF2-40B4-BE49-F238E27FC236}">
                <a16:creationId xmlns:a16="http://schemas.microsoft.com/office/drawing/2014/main" id="{AAD8FA1E-AE3F-5594-9FA9-7A273973DEFD}"/>
              </a:ext>
            </a:extLst>
          </p:cNvPr>
          <p:cNvSpPr>
            <a:spLocks noGrp="1"/>
          </p:cNvSpPr>
          <p:nvPr>
            <p:ph type="title" hasCustomPrompt="1"/>
          </p:nvPr>
        </p:nvSpPr>
        <p:spPr>
          <a:xfrm>
            <a:off x="766763" y="185966"/>
            <a:ext cx="10658475" cy="903288"/>
          </a:xfrm>
          <a:prstGeom prst="rect">
            <a:avLst/>
          </a:prstGeom>
        </p:spPr>
        <p:txBody>
          <a:bodyPr vert="horz" lIns="0" tIns="0" rIns="0" bIns="0" rtlCol="0" anchor="b">
            <a:normAutofit/>
          </a:bodyPr>
          <a:lstStyle>
            <a:lvl1pPr>
              <a:defRPr sz="2800">
                <a:solidFill>
                  <a:schemeClr val="accent2"/>
                </a:solidFill>
              </a:defRPr>
            </a:lvl1pPr>
          </a:lstStyle>
          <a:p>
            <a:r>
              <a:rPr lang="en-GB" dirty="0"/>
              <a:t>Click To Edit Master Title Style</a:t>
            </a:r>
            <a:endParaRPr lang="en-US" dirty="0"/>
          </a:p>
        </p:txBody>
      </p:sp>
      <p:sp>
        <p:nvSpPr>
          <p:cNvPr id="27" name="Rectangle 26">
            <a:extLst>
              <a:ext uri="{FF2B5EF4-FFF2-40B4-BE49-F238E27FC236}">
                <a16:creationId xmlns:a16="http://schemas.microsoft.com/office/drawing/2014/main" id="{FE9B7BB3-F60F-923E-F940-CAB7A1BCA870}"/>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6294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Content (2)">
    <p:bg>
      <p:bgPr>
        <a:solidFill>
          <a:schemeClr val="accent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A5F781-B11F-3BF1-E89E-2C048C1E409E}"/>
              </a:ext>
            </a:extLst>
          </p:cNvPr>
          <p:cNvSpPr/>
          <p:nvPr userDrawn="1"/>
        </p:nvSpPr>
        <p:spPr>
          <a:xfrm flipV="1">
            <a:off x="0" y="6308724"/>
            <a:ext cx="12192000" cy="549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Placeholder 1">
            <a:extLst>
              <a:ext uri="{FF2B5EF4-FFF2-40B4-BE49-F238E27FC236}">
                <a16:creationId xmlns:a16="http://schemas.microsoft.com/office/drawing/2014/main" id="{41816E5F-2616-DFD0-A878-30D0E7D4652A}"/>
              </a:ext>
            </a:extLst>
          </p:cNvPr>
          <p:cNvSpPr>
            <a:spLocks noGrp="1"/>
          </p:cNvSpPr>
          <p:nvPr>
            <p:ph type="title" hasCustomPrompt="1"/>
          </p:nvPr>
        </p:nvSpPr>
        <p:spPr>
          <a:xfrm>
            <a:off x="766763" y="185737"/>
            <a:ext cx="10658475" cy="903288"/>
          </a:xfrm>
          <a:prstGeom prst="rect">
            <a:avLst/>
          </a:prstGeom>
        </p:spPr>
        <p:txBody>
          <a:bodyPr vert="horz" lIns="0" tIns="0" rIns="0" bIns="0" rtlCol="0" anchor="b">
            <a:normAutofit/>
          </a:bodyPr>
          <a:lstStyle>
            <a:lvl1pPr>
              <a:defRPr sz="2800">
                <a:solidFill>
                  <a:srgbClr val="FFFFFF"/>
                </a:solidFill>
              </a:defRPr>
            </a:lvl1pPr>
          </a:lstStyle>
          <a:p>
            <a:r>
              <a:rPr lang="en-GB" dirty="0"/>
              <a:t>Click To Edit Master Title Style</a:t>
            </a:r>
            <a:endParaRPr lang="en-US" dirty="0"/>
          </a:p>
        </p:txBody>
      </p:sp>
      <p:sp>
        <p:nvSpPr>
          <p:cNvPr id="18" name="Slide Number Placeholder 5">
            <a:extLst>
              <a:ext uri="{FF2B5EF4-FFF2-40B4-BE49-F238E27FC236}">
                <a16:creationId xmlns:a16="http://schemas.microsoft.com/office/drawing/2014/main" id="{D7640E00-6972-1D26-91B7-E3DB4A2C4357}"/>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20" name="Picture 19">
            <a:extLst>
              <a:ext uri="{FF2B5EF4-FFF2-40B4-BE49-F238E27FC236}">
                <a16:creationId xmlns:a16="http://schemas.microsoft.com/office/drawing/2014/main" id="{A8328F8C-3524-D815-B9D5-91A4C44D85E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2" name="Text Placeholder 3">
            <a:extLst>
              <a:ext uri="{FF2B5EF4-FFF2-40B4-BE49-F238E27FC236}">
                <a16:creationId xmlns:a16="http://schemas.microsoft.com/office/drawing/2014/main" id="{41B38B3C-D946-11A6-85B9-9694697267A5}"/>
              </a:ext>
            </a:extLst>
          </p:cNvPr>
          <p:cNvSpPr>
            <a:spLocks noGrp="1"/>
          </p:cNvSpPr>
          <p:nvPr>
            <p:ph type="body" sz="quarter" idx="10"/>
          </p:nvPr>
        </p:nvSpPr>
        <p:spPr>
          <a:xfrm>
            <a:off x="766763" y="1342095"/>
            <a:ext cx="10658475" cy="4514850"/>
          </a:xfrm>
          <a:prstGeom prst="rect">
            <a:avLst/>
          </a:prstGeom>
        </p:spPr>
        <p:txBody>
          <a:bodyPr/>
          <a:lstStyle>
            <a:lvl1pPr>
              <a:defRPr sz="2000">
                <a:solidFill>
                  <a:srgbClr val="FFFFFF"/>
                </a:solidFill>
              </a:defRPr>
            </a:lvl1pPr>
            <a:lvl2pPr>
              <a:defRPr sz="1800">
                <a:solidFill>
                  <a:srgbClr val="FFFFFF"/>
                </a:solidFill>
              </a:defRPr>
            </a:lvl2pPr>
            <a:lvl3pPr>
              <a:defRPr sz="1600">
                <a:solidFill>
                  <a:srgbClr val="FFFFFF"/>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8" name="Rectangle 7">
            <a:extLst>
              <a:ext uri="{FF2B5EF4-FFF2-40B4-BE49-F238E27FC236}">
                <a16:creationId xmlns:a16="http://schemas.microsoft.com/office/drawing/2014/main" id="{6A3B2EFE-DDF4-115E-AF75-89172D42372B}"/>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81103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F2674A-1254-96D1-EB5F-410185F8B938}"/>
              </a:ext>
            </a:extLst>
          </p:cNvPr>
          <p:cNvSpPr/>
          <p:nvPr userDrawn="1"/>
        </p:nvSpPr>
        <p:spPr>
          <a:xfrm>
            <a:off x="-2" y="4066976"/>
            <a:ext cx="8694753" cy="27910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417A7A22-EA8F-3097-7041-9876D5C2DDDB}"/>
              </a:ext>
            </a:extLst>
          </p:cNvPr>
          <p:cNvCxnSpPr/>
          <p:nvPr userDrawn="1"/>
        </p:nvCxnSpPr>
        <p:spPr>
          <a:xfrm>
            <a:off x="0" y="4046202"/>
            <a:ext cx="121920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863A1B51-5B5D-DD2C-AD66-A4E801AB223E}"/>
              </a:ext>
            </a:extLst>
          </p:cNvPr>
          <p:cNvSpPr>
            <a:spLocks noGrp="1"/>
          </p:cNvSpPr>
          <p:nvPr>
            <p:ph type="pic" sz="quarter" idx="10"/>
          </p:nvPr>
        </p:nvSpPr>
        <p:spPr>
          <a:xfrm>
            <a:off x="0" y="0"/>
            <a:ext cx="12192000" cy="4025900"/>
          </a:xfrm>
          <a:prstGeom prst="rect">
            <a:avLst/>
          </a:prstGeom>
        </p:spPr>
        <p:txBody>
          <a:bodyPr anchor="ctr"/>
          <a:lstStyle>
            <a:lvl1pPr marL="0" indent="0" algn="ctr">
              <a:buNone/>
              <a:defRPr/>
            </a:lvl1pPr>
          </a:lstStyle>
          <a:p>
            <a:endParaRPr lang="en-GB" dirty="0"/>
          </a:p>
        </p:txBody>
      </p:sp>
      <p:sp>
        <p:nvSpPr>
          <p:cNvPr id="16" name="Picture Placeholder 15">
            <a:extLst>
              <a:ext uri="{FF2B5EF4-FFF2-40B4-BE49-F238E27FC236}">
                <a16:creationId xmlns:a16="http://schemas.microsoft.com/office/drawing/2014/main" id="{1D0AD777-F1ED-E54E-D0A5-8699A28978E1}"/>
              </a:ext>
            </a:extLst>
          </p:cNvPr>
          <p:cNvSpPr>
            <a:spLocks noGrp="1"/>
          </p:cNvSpPr>
          <p:nvPr>
            <p:ph type="pic" sz="quarter" idx="11" hasCustomPrompt="1"/>
          </p:nvPr>
        </p:nvSpPr>
        <p:spPr>
          <a:xfrm>
            <a:off x="9107424" y="4487863"/>
            <a:ext cx="2834640" cy="2013511"/>
          </a:xfrm>
          <a:prstGeom prst="rect">
            <a:avLst/>
          </a:prstGeom>
        </p:spPr>
        <p:txBody>
          <a:bodyPr anchor="ctr"/>
          <a:lstStyle>
            <a:lvl1pPr marL="0" indent="0" algn="ctr">
              <a:buNone/>
              <a:defRPr sz="1600"/>
            </a:lvl1pPr>
          </a:lstStyle>
          <a:p>
            <a:r>
              <a:rPr lang="en-US" dirty="0"/>
              <a:t>Logo</a:t>
            </a:r>
            <a:endParaRPr lang="en-GB" dirty="0"/>
          </a:p>
        </p:txBody>
      </p:sp>
      <p:sp>
        <p:nvSpPr>
          <p:cNvPr id="22" name="Text Placeholder 21">
            <a:extLst>
              <a:ext uri="{FF2B5EF4-FFF2-40B4-BE49-F238E27FC236}">
                <a16:creationId xmlns:a16="http://schemas.microsoft.com/office/drawing/2014/main" id="{9FEF952C-51AC-CCA3-5328-34E5AF35698F}"/>
              </a:ext>
            </a:extLst>
          </p:cNvPr>
          <p:cNvSpPr>
            <a:spLocks noGrp="1"/>
          </p:cNvSpPr>
          <p:nvPr>
            <p:ph type="body" sz="quarter" idx="14" hasCustomPrompt="1"/>
          </p:nvPr>
        </p:nvSpPr>
        <p:spPr>
          <a:xfrm>
            <a:off x="766763" y="4352925"/>
            <a:ext cx="6967537" cy="657225"/>
          </a:xfrm>
          <a:prstGeom prst="rect">
            <a:avLst/>
          </a:prstGeom>
        </p:spPr>
        <p:txBody>
          <a:bodyPr anchor="b"/>
          <a:lstStyle>
            <a:lvl1pPr marL="0" indent="0">
              <a:buNone/>
              <a:defRPr sz="3200" b="1">
                <a:solidFill>
                  <a:schemeClr val="bg1"/>
                </a:solidFill>
              </a:defRPr>
            </a:lvl1pPr>
          </a:lstStyle>
          <a:p>
            <a:pPr lvl="0"/>
            <a:r>
              <a:rPr lang="en-US" dirty="0"/>
              <a:t>Click to edit Title</a:t>
            </a:r>
          </a:p>
        </p:txBody>
      </p:sp>
      <p:sp>
        <p:nvSpPr>
          <p:cNvPr id="23" name="Text Placeholder 21">
            <a:extLst>
              <a:ext uri="{FF2B5EF4-FFF2-40B4-BE49-F238E27FC236}">
                <a16:creationId xmlns:a16="http://schemas.microsoft.com/office/drawing/2014/main" id="{2F933BE7-BF73-A899-0EB4-AF04B7F1BEDF}"/>
              </a:ext>
            </a:extLst>
          </p:cNvPr>
          <p:cNvSpPr>
            <a:spLocks noGrp="1"/>
          </p:cNvSpPr>
          <p:nvPr>
            <p:ph type="body" sz="quarter" idx="15" hasCustomPrompt="1"/>
          </p:nvPr>
        </p:nvSpPr>
        <p:spPr>
          <a:xfrm>
            <a:off x="766762" y="5090202"/>
            <a:ext cx="6967537" cy="1025525"/>
          </a:xfrm>
          <a:prstGeom prst="rect">
            <a:avLst/>
          </a:prstGeom>
        </p:spPr>
        <p:txBody>
          <a:bodyPr/>
          <a:lstStyle>
            <a:lvl1pPr marL="0" indent="0">
              <a:buNone/>
              <a:defRPr sz="2000" b="1">
                <a:solidFill>
                  <a:schemeClr val="accent1"/>
                </a:solidFill>
              </a:defRPr>
            </a:lvl1pPr>
          </a:lstStyle>
          <a:p>
            <a:pPr lvl="0"/>
            <a:r>
              <a:rPr lang="en-US" dirty="0"/>
              <a:t>Click to edit Subtitle</a:t>
            </a:r>
          </a:p>
        </p:txBody>
      </p:sp>
    </p:spTree>
    <p:extLst>
      <p:ext uri="{BB962C8B-B14F-4D97-AF65-F5344CB8AC3E}">
        <p14:creationId xmlns:p14="http://schemas.microsoft.com/office/powerpoint/2010/main" val="38439466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Pointers (with icon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81D1C3-3B34-C9C1-1928-DEB8089358F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Slide Number Placeholder 5">
            <a:extLst>
              <a:ext uri="{FF2B5EF4-FFF2-40B4-BE49-F238E27FC236}">
                <a16:creationId xmlns:a16="http://schemas.microsoft.com/office/drawing/2014/main" id="{302FA71A-A6CE-84BE-0779-87611BF3098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1" name="Picture 10">
            <a:extLst>
              <a:ext uri="{FF2B5EF4-FFF2-40B4-BE49-F238E27FC236}">
                <a16:creationId xmlns:a16="http://schemas.microsoft.com/office/drawing/2014/main" id="{66992041-2E44-830E-9B4D-CC831B5884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Oval 14">
            <a:extLst>
              <a:ext uri="{FF2B5EF4-FFF2-40B4-BE49-F238E27FC236}">
                <a16:creationId xmlns:a16="http://schemas.microsoft.com/office/drawing/2014/main" id="{CC5A56EF-1A21-82AD-26F4-AD25B26B9C21}"/>
              </a:ext>
            </a:extLst>
          </p:cNvPr>
          <p:cNvSpPr/>
          <p:nvPr userDrawn="1"/>
        </p:nvSpPr>
        <p:spPr>
          <a:xfrm>
            <a:off x="767634" y="1605966"/>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AB39687-243F-84A7-643F-A2F8F7880F64}"/>
              </a:ext>
            </a:extLst>
          </p:cNvPr>
          <p:cNvSpPr/>
          <p:nvPr userDrawn="1"/>
        </p:nvSpPr>
        <p:spPr>
          <a:xfrm>
            <a:off x="767634" y="2712226"/>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99DBC6DF-3804-73AD-1958-B7CBBCBD79B5}"/>
              </a:ext>
            </a:extLst>
          </p:cNvPr>
          <p:cNvSpPr/>
          <p:nvPr userDrawn="1"/>
        </p:nvSpPr>
        <p:spPr>
          <a:xfrm>
            <a:off x="767634" y="3810803"/>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56D86F31-4495-6B25-4CD2-07C6B2095788}"/>
              </a:ext>
            </a:extLst>
          </p:cNvPr>
          <p:cNvSpPr/>
          <p:nvPr userDrawn="1"/>
        </p:nvSpPr>
        <p:spPr>
          <a:xfrm>
            <a:off x="767634" y="4917370"/>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2">
            <a:extLst>
              <a:ext uri="{FF2B5EF4-FFF2-40B4-BE49-F238E27FC236}">
                <a16:creationId xmlns:a16="http://schemas.microsoft.com/office/drawing/2014/main" id="{B079D1C1-243A-C65D-C355-3EA60A04817A}"/>
              </a:ext>
            </a:extLst>
          </p:cNvPr>
          <p:cNvSpPr>
            <a:spLocks noGrp="1"/>
          </p:cNvSpPr>
          <p:nvPr>
            <p:ph idx="1" hasCustomPrompt="1"/>
          </p:nvPr>
        </p:nvSpPr>
        <p:spPr>
          <a:xfrm>
            <a:off x="1548882" y="1517463"/>
            <a:ext cx="9876356"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1" name="Text Placeholder 2">
            <a:extLst>
              <a:ext uri="{FF2B5EF4-FFF2-40B4-BE49-F238E27FC236}">
                <a16:creationId xmlns:a16="http://schemas.microsoft.com/office/drawing/2014/main" id="{00C73C6D-2072-F601-982C-3ED0A7FD244E}"/>
              </a:ext>
            </a:extLst>
          </p:cNvPr>
          <p:cNvSpPr>
            <a:spLocks noGrp="1"/>
          </p:cNvSpPr>
          <p:nvPr>
            <p:ph idx="10" hasCustomPrompt="1"/>
          </p:nvPr>
        </p:nvSpPr>
        <p:spPr>
          <a:xfrm>
            <a:off x="1548840" y="2623723"/>
            <a:ext cx="9875526"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2" name="Text Placeholder 2">
            <a:extLst>
              <a:ext uri="{FF2B5EF4-FFF2-40B4-BE49-F238E27FC236}">
                <a16:creationId xmlns:a16="http://schemas.microsoft.com/office/drawing/2014/main" id="{79767D98-E98C-43FE-D8D2-3A4C8C4D155A}"/>
              </a:ext>
            </a:extLst>
          </p:cNvPr>
          <p:cNvSpPr>
            <a:spLocks noGrp="1"/>
          </p:cNvSpPr>
          <p:nvPr>
            <p:ph idx="11" hasCustomPrompt="1"/>
          </p:nvPr>
        </p:nvSpPr>
        <p:spPr>
          <a:xfrm>
            <a:off x="1549712" y="3722300"/>
            <a:ext cx="9875526"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3" name="Text Placeholder 2">
            <a:extLst>
              <a:ext uri="{FF2B5EF4-FFF2-40B4-BE49-F238E27FC236}">
                <a16:creationId xmlns:a16="http://schemas.microsoft.com/office/drawing/2014/main" id="{124D6786-28F5-F83E-E1E0-E4D41C616AAF}"/>
              </a:ext>
            </a:extLst>
          </p:cNvPr>
          <p:cNvSpPr>
            <a:spLocks noGrp="1"/>
          </p:cNvSpPr>
          <p:nvPr>
            <p:ph idx="12" hasCustomPrompt="1"/>
          </p:nvPr>
        </p:nvSpPr>
        <p:spPr>
          <a:xfrm>
            <a:off x="1548840" y="4828867"/>
            <a:ext cx="9875526"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4" name="Title Placeholder 1">
            <a:extLst>
              <a:ext uri="{FF2B5EF4-FFF2-40B4-BE49-F238E27FC236}">
                <a16:creationId xmlns:a16="http://schemas.microsoft.com/office/drawing/2014/main" id="{AAD8FA1E-AE3F-5594-9FA9-7A273973DEFD}"/>
              </a:ext>
            </a:extLst>
          </p:cNvPr>
          <p:cNvSpPr>
            <a:spLocks noGrp="1"/>
          </p:cNvSpPr>
          <p:nvPr>
            <p:ph type="title" hasCustomPrompt="1"/>
          </p:nvPr>
        </p:nvSpPr>
        <p:spPr>
          <a:xfrm>
            <a:off x="766763" y="185966"/>
            <a:ext cx="10658475" cy="903288"/>
          </a:xfrm>
          <a:prstGeom prst="rect">
            <a:avLst/>
          </a:prstGeom>
        </p:spPr>
        <p:txBody>
          <a:bodyPr vert="horz" lIns="0" tIns="0" rIns="0" bIns="0" rtlCol="0" anchor="b">
            <a:normAutofit/>
          </a:bodyPr>
          <a:lstStyle>
            <a:lvl1pPr>
              <a:defRPr sz="2800">
                <a:solidFill>
                  <a:schemeClr val="accent2"/>
                </a:solidFill>
              </a:defRPr>
            </a:lvl1pPr>
          </a:lstStyle>
          <a:p>
            <a:r>
              <a:rPr lang="en-GB" dirty="0"/>
              <a:t>Click To Edit Master Title Style</a:t>
            </a:r>
            <a:endParaRPr lang="en-US" dirty="0"/>
          </a:p>
        </p:txBody>
      </p:sp>
      <p:sp>
        <p:nvSpPr>
          <p:cNvPr id="17" name="Rectangle 16">
            <a:extLst>
              <a:ext uri="{FF2B5EF4-FFF2-40B4-BE49-F238E27FC236}">
                <a16:creationId xmlns:a16="http://schemas.microsoft.com/office/drawing/2014/main" id="{3BD3048E-41AD-587D-D603-A879063DE834}"/>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275787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Plain ">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537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Break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1"/>
            <a:ext cx="6862764"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2" name="Title 1"/>
          <p:cNvSpPr>
            <a:spLocks noGrp="1"/>
          </p:cNvSpPr>
          <p:nvPr>
            <p:ph type="title" hasCustomPrompt="1"/>
          </p:nvPr>
        </p:nvSpPr>
        <p:spPr>
          <a:xfrm>
            <a:off x="766763" y="2443503"/>
            <a:ext cx="5329237" cy="989595"/>
          </a:xfrm>
          <a:prstGeom prst="rect">
            <a:avLst/>
          </a:prstGeom>
        </p:spPr>
        <p:txBody>
          <a:bodyPr lIns="0" anchor="ctr"/>
          <a:lstStyle>
            <a:lvl1pPr algn="l">
              <a:defRPr>
                <a:solidFill>
                  <a:srgbClr val="FFFFFF"/>
                </a:solidFill>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6862764" y="-2"/>
            <a:ext cx="5329236" cy="685800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cxnSp>
        <p:nvCxnSpPr>
          <p:cNvPr id="4" name="Straight Connector 3">
            <a:extLst>
              <a:ext uri="{FF2B5EF4-FFF2-40B4-BE49-F238E27FC236}">
                <a16:creationId xmlns:a16="http://schemas.microsoft.com/office/drawing/2014/main" id="{9252261D-42C0-939A-0448-368AF65D2809}"/>
              </a:ext>
            </a:extLst>
          </p:cNvPr>
          <p:cNvCxnSpPr>
            <a:cxnSpLocks/>
          </p:cNvCxnSpPr>
          <p:nvPr userDrawn="1"/>
        </p:nvCxnSpPr>
        <p:spPr>
          <a:xfrm>
            <a:off x="749508" y="3957403"/>
            <a:ext cx="4721902"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53964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Breaker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2758190"/>
            <a:ext cx="12192000" cy="40998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2" name="Title 1"/>
          <p:cNvSpPr>
            <a:spLocks noGrp="1"/>
          </p:cNvSpPr>
          <p:nvPr>
            <p:ph type="title" hasCustomPrompt="1"/>
          </p:nvPr>
        </p:nvSpPr>
        <p:spPr>
          <a:xfrm>
            <a:off x="766763" y="4002480"/>
            <a:ext cx="5329237" cy="989595"/>
          </a:xfrm>
          <a:prstGeom prst="rect">
            <a:avLst/>
          </a:prstGeom>
        </p:spPr>
        <p:txBody>
          <a:bodyPr lIns="0" anchor="ctr"/>
          <a:lstStyle>
            <a:lvl1pPr algn="l">
              <a:defRPr>
                <a:solidFill>
                  <a:srgbClr val="FFFFFF"/>
                </a:solidFill>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0" y="-2"/>
            <a:ext cx="12192000" cy="275819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cxnSp>
        <p:nvCxnSpPr>
          <p:cNvPr id="4" name="Straight Connector 3">
            <a:extLst>
              <a:ext uri="{FF2B5EF4-FFF2-40B4-BE49-F238E27FC236}">
                <a16:creationId xmlns:a16="http://schemas.microsoft.com/office/drawing/2014/main" id="{9252261D-42C0-939A-0448-368AF65D2809}"/>
              </a:ext>
            </a:extLst>
          </p:cNvPr>
          <p:cNvCxnSpPr>
            <a:cxnSpLocks/>
          </p:cNvCxnSpPr>
          <p:nvPr userDrawn="1"/>
        </p:nvCxnSpPr>
        <p:spPr>
          <a:xfrm>
            <a:off x="749508" y="5276538"/>
            <a:ext cx="3117954"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46509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oin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81D1C3-3B34-C9C1-1928-DEB8089358F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Slide Number Placeholder 5">
            <a:extLst>
              <a:ext uri="{FF2B5EF4-FFF2-40B4-BE49-F238E27FC236}">
                <a16:creationId xmlns:a16="http://schemas.microsoft.com/office/drawing/2014/main" id="{302FA71A-A6CE-84BE-0779-87611BF3098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1" name="Picture 10">
            <a:extLst>
              <a:ext uri="{FF2B5EF4-FFF2-40B4-BE49-F238E27FC236}">
                <a16:creationId xmlns:a16="http://schemas.microsoft.com/office/drawing/2014/main" id="{66992041-2E44-830E-9B4D-CC831B5884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Oval 14">
            <a:extLst>
              <a:ext uri="{FF2B5EF4-FFF2-40B4-BE49-F238E27FC236}">
                <a16:creationId xmlns:a16="http://schemas.microsoft.com/office/drawing/2014/main" id="{CC5A56EF-1A21-82AD-26F4-AD25B26B9C21}"/>
              </a:ext>
            </a:extLst>
          </p:cNvPr>
          <p:cNvSpPr/>
          <p:nvPr userDrawn="1"/>
        </p:nvSpPr>
        <p:spPr>
          <a:xfrm>
            <a:off x="767634" y="1498994"/>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AB39687-243F-84A7-643F-A2F8F7880F64}"/>
              </a:ext>
            </a:extLst>
          </p:cNvPr>
          <p:cNvSpPr/>
          <p:nvPr userDrawn="1"/>
        </p:nvSpPr>
        <p:spPr>
          <a:xfrm>
            <a:off x="767634" y="2602436"/>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99DBC6DF-3804-73AD-1958-B7CBBCBD79B5}"/>
              </a:ext>
            </a:extLst>
          </p:cNvPr>
          <p:cNvSpPr/>
          <p:nvPr userDrawn="1"/>
        </p:nvSpPr>
        <p:spPr>
          <a:xfrm>
            <a:off x="767634" y="3705878"/>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56D86F31-4495-6B25-4CD2-07C6B2095788}"/>
              </a:ext>
            </a:extLst>
          </p:cNvPr>
          <p:cNvSpPr/>
          <p:nvPr userDrawn="1"/>
        </p:nvSpPr>
        <p:spPr>
          <a:xfrm>
            <a:off x="767634" y="4809319"/>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C9DA58AF-B45C-10F5-1233-2C09BC2B9B5B}"/>
              </a:ext>
            </a:extLst>
          </p:cNvPr>
          <p:cNvSpPr txBox="1"/>
          <p:nvPr userDrawn="1"/>
        </p:nvSpPr>
        <p:spPr>
          <a:xfrm>
            <a:off x="767634" y="1517571"/>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1</a:t>
            </a:r>
          </a:p>
        </p:txBody>
      </p:sp>
      <p:sp>
        <p:nvSpPr>
          <p:cNvPr id="24" name="TextBox 23">
            <a:extLst>
              <a:ext uri="{FF2B5EF4-FFF2-40B4-BE49-F238E27FC236}">
                <a16:creationId xmlns:a16="http://schemas.microsoft.com/office/drawing/2014/main" id="{EAEE2D8E-6E02-8479-8FDD-66629420728B}"/>
              </a:ext>
            </a:extLst>
          </p:cNvPr>
          <p:cNvSpPr txBox="1"/>
          <p:nvPr userDrawn="1"/>
        </p:nvSpPr>
        <p:spPr>
          <a:xfrm>
            <a:off x="766763" y="2621013"/>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2</a:t>
            </a:r>
          </a:p>
        </p:txBody>
      </p:sp>
      <p:sp>
        <p:nvSpPr>
          <p:cNvPr id="25" name="TextBox 24">
            <a:extLst>
              <a:ext uri="{FF2B5EF4-FFF2-40B4-BE49-F238E27FC236}">
                <a16:creationId xmlns:a16="http://schemas.microsoft.com/office/drawing/2014/main" id="{2FA8D5CE-C6CC-893E-086D-8FFA985F598E}"/>
              </a:ext>
            </a:extLst>
          </p:cNvPr>
          <p:cNvSpPr txBox="1"/>
          <p:nvPr userDrawn="1"/>
        </p:nvSpPr>
        <p:spPr>
          <a:xfrm>
            <a:off x="765892" y="3724455"/>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3</a:t>
            </a:r>
          </a:p>
        </p:txBody>
      </p:sp>
      <p:sp>
        <p:nvSpPr>
          <p:cNvPr id="26" name="TextBox 25">
            <a:extLst>
              <a:ext uri="{FF2B5EF4-FFF2-40B4-BE49-F238E27FC236}">
                <a16:creationId xmlns:a16="http://schemas.microsoft.com/office/drawing/2014/main" id="{0CF7E23B-1177-A7E3-BB37-80E5E77EC106}"/>
              </a:ext>
            </a:extLst>
          </p:cNvPr>
          <p:cNvSpPr txBox="1"/>
          <p:nvPr userDrawn="1"/>
        </p:nvSpPr>
        <p:spPr>
          <a:xfrm>
            <a:off x="765021" y="4827897"/>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4</a:t>
            </a:r>
          </a:p>
        </p:txBody>
      </p:sp>
      <p:sp>
        <p:nvSpPr>
          <p:cNvPr id="30" name="Text Placeholder 2">
            <a:extLst>
              <a:ext uri="{FF2B5EF4-FFF2-40B4-BE49-F238E27FC236}">
                <a16:creationId xmlns:a16="http://schemas.microsoft.com/office/drawing/2014/main" id="{B079D1C1-243A-C65D-C355-3EA60A04817A}"/>
              </a:ext>
            </a:extLst>
          </p:cNvPr>
          <p:cNvSpPr>
            <a:spLocks noGrp="1"/>
          </p:cNvSpPr>
          <p:nvPr>
            <p:ph idx="1" hasCustomPrompt="1"/>
          </p:nvPr>
        </p:nvSpPr>
        <p:spPr>
          <a:xfrm>
            <a:off x="1062914" y="1364955"/>
            <a:ext cx="10362324"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1" name="Text Placeholder 2">
            <a:extLst>
              <a:ext uri="{FF2B5EF4-FFF2-40B4-BE49-F238E27FC236}">
                <a16:creationId xmlns:a16="http://schemas.microsoft.com/office/drawing/2014/main" id="{00C73C6D-2072-F601-982C-3ED0A7FD244E}"/>
              </a:ext>
            </a:extLst>
          </p:cNvPr>
          <p:cNvSpPr>
            <a:spLocks noGrp="1"/>
          </p:cNvSpPr>
          <p:nvPr>
            <p:ph idx="10" hasCustomPrompt="1"/>
          </p:nvPr>
        </p:nvSpPr>
        <p:spPr>
          <a:xfrm>
            <a:off x="1062914" y="2474034"/>
            <a:ext cx="10361452"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2" name="Text Placeholder 2">
            <a:extLst>
              <a:ext uri="{FF2B5EF4-FFF2-40B4-BE49-F238E27FC236}">
                <a16:creationId xmlns:a16="http://schemas.microsoft.com/office/drawing/2014/main" id="{79767D98-E98C-43FE-D8D2-3A4C8C4D155A}"/>
              </a:ext>
            </a:extLst>
          </p:cNvPr>
          <p:cNvSpPr>
            <a:spLocks noGrp="1"/>
          </p:cNvSpPr>
          <p:nvPr>
            <p:ph idx="11" hasCustomPrompt="1"/>
          </p:nvPr>
        </p:nvSpPr>
        <p:spPr>
          <a:xfrm>
            <a:off x="1063786" y="3567746"/>
            <a:ext cx="10361452"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3" name="Text Placeholder 2">
            <a:extLst>
              <a:ext uri="{FF2B5EF4-FFF2-40B4-BE49-F238E27FC236}">
                <a16:creationId xmlns:a16="http://schemas.microsoft.com/office/drawing/2014/main" id="{124D6786-28F5-F83E-E1E0-E4D41C616AAF}"/>
              </a:ext>
            </a:extLst>
          </p:cNvPr>
          <p:cNvSpPr>
            <a:spLocks noGrp="1"/>
          </p:cNvSpPr>
          <p:nvPr>
            <p:ph idx="12" hasCustomPrompt="1"/>
          </p:nvPr>
        </p:nvSpPr>
        <p:spPr>
          <a:xfrm>
            <a:off x="1062914" y="4677438"/>
            <a:ext cx="10361452"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4" name="Title Placeholder 1">
            <a:extLst>
              <a:ext uri="{FF2B5EF4-FFF2-40B4-BE49-F238E27FC236}">
                <a16:creationId xmlns:a16="http://schemas.microsoft.com/office/drawing/2014/main" id="{AAD8FA1E-AE3F-5594-9FA9-7A273973DEFD}"/>
              </a:ext>
            </a:extLst>
          </p:cNvPr>
          <p:cNvSpPr>
            <a:spLocks noGrp="1"/>
          </p:cNvSpPr>
          <p:nvPr>
            <p:ph type="title" hasCustomPrompt="1"/>
          </p:nvPr>
        </p:nvSpPr>
        <p:spPr>
          <a:xfrm>
            <a:off x="766763" y="185966"/>
            <a:ext cx="10658475" cy="903288"/>
          </a:xfrm>
          <a:prstGeom prst="rect">
            <a:avLst/>
          </a:prstGeom>
        </p:spPr>
        <p:txBody>
          <a:bodyPr vert="horz" lIns="0" tIns="0" rIns="0" bIns="0" rtlCol="0" anchor="b">
            <a:normAutofit/>
          </a:bodyPr>
          <a:lstStyle>
            <a:lvl1pPr>
              <a:defRPr sz="2800">
                <a:solidFill>
                  <a:schemeClr val="accent2"/>
                </a:solidFill>
              </a:defRPr>
            </a:lvl1pPr>
          </a:lstStyle>
          <a:p>
            <a:r>
              <a:rPr lang="en-GB" dirty="0"/>
              <a:t>Click To Edit Master Title Style</a:t>
            </a:r>
            <a:endParaRPr lang="en-US" dirty="0"/>
          </a:p>
        </p:txBody>
      </p:sp>
      <p:sp>
        <p:nvSpPr>
          <p:cNvPr id="27" name="Rectangle 26">
            <a:extLst>
              <a:ext uri="{FF2B5EF4-FFF2-40B4-BE49-F238E27FC236}">
                <a16:creationId xmlns:a16="http://schemas.microsoft.com/office/drawing/2014/main" id="{FE9B7BB3-F60F-923E-F940-CAB7A1BCA870}"/>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11715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ointers (with icon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81D1C3-3B34-C9C1-1928-DEB8089358F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Slide Number Placeholder 5">
            <a:extLst>
              <a:ext uri="{FF2B5EF4-FFF2-40B4-BE49-F238E27FC236}">
                <a16:creationId xmlns:a16="http://schemas.microsoft.com/office/drawing/2014/main" id="{302FA71A-A6CE-84BE-0779-87611BF3098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1" name="Picture 10">
            <a:extLst>
              <a:ext uri="{FF2B5EF4-FFF2-40B4-BE49-F238E27FC236}">
                <a16:creationId xmlns:a16="http://schemas.microsoft.com/office/drawing/2014/main" id="{66992041-2E44-830E-9B4D-CC831B5884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Oval 14">
            <a:extLst>
              <a:ext uri="{FF2B5EF4-FFF2-40B4-BE49-F238E27FC236}">
                <a16:creationId xmlns:a16="http://schemas.microsoft.com/office/drawing/2014/main" id="{CC5A56EF-1A21-82AD-26F4-AD25B26B9C21}"/>
              </a:ext>
            </a:extLst>
          </p:cNvPr>
          <p:cNvSpPr/>
          <p:nvPr userDrawn="1"/>
        </p:nvSpPr>
        <p:spPr>
          <a:xfrm>
            <a:off x="767634" y="1605966"/>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AB39687-243F-84A7-643F-A2F8F7880F64}"/>
              </a:ext>
            </a:extLst>
          </p:cNvPr>
          <p:cNvSpPr/>
          <p:nvPr userDrawn="1"/>
        </p:nvSpPr>
        <p:spPr>
          <a:xfrm>
            <a:off x="767634" y="2712226"/>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99DBC6DF-3804-73AD-1958-B7CBBCBD79B5}"/>
              </a:ext>
            </a:extLst>
          </p:cNvPr>
          <p:cNvSpPr/>
          <p:nvPr userDrawn="1"/>
        </p:nvSpPr>
        <p:spPr>
          <a:xfrm>
            <a:off x="767634" y="3810803"/>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56D86F31-4495-6B25-4CD2-07C6B2095788}"/>
              </a:ext>
            </a:extLst>
          </p:cNvPr>
          <p:cNvSpPr/>
          <p:nvPr userDrawn="1"/>
        </p:nvSpPr>
        <p:spPr>
          <a:xfrm>
            <a:off x="767634" y="4917370"/>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2">
            <a:extLst>
              <a:ext uri="{FF2B5EF4-FFF2-40B4-BE49-F238E27FC236}">
                <a16:creationId xmlns:a16="http://schemas.microsoft.com/office/drawing/2014/main" id="{B079D1C1-243A-C65D-C355-3EA60A04817A}"/>
              </a:ext>
            </a:extLst>
          </p:cNvPr>
          <p:cNvSpPr>
            <a:spLocks noGrp="1"/>
          </p:cNvSpPr>
          <p:nvPr>
            <p:ph idx="1" hasCustomPrompt="1"/>
          </p:nvPr>
        </p:nvSpPr>
        <p:spPr>
          <a:xfrm>
            <a:off x="1548882" y="1517463"/>
            <a:ext cx="9876356"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1" name="Text Placeholder 2">
            <a:extLst>
              <a:ext uri="{FF2B5EF4-FFF2-40B4-BE49-F238E27FC236}">
                <a16:creationId xmlns:a16="http://schemas.microsoft.com/office/drawing/2014/main" id="{00C73C6D-2072-F601-982C-3ED0A7FD244E}"/>
              </a:ext>
            </a:extLst>
          </p:cNvPr>
          <p:cNvSpPr>
            <a:spLocks noGrp="1"/>
          </p:cNvSpPr>
          <p:nvPr>
            <p:ph idx="10" hasCustomPrompt="1"/>
          </p:nvPr>
        </p:nvSpPr>
        <p:spPr>
          <a:xfrm>
            <a:off x="1548840" y="2623723"/>
            <a:ext cx="9875526"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2" name="Text Placeholder 2">
            <a:extLst>
              <a:ext uri="{FF2B5EF4-FFF2-40B4-BE49-F238E27FC236}">
                <a16:creationId xmlns:a16="http://schemas.microsoft.com/office/drawing/2014/main" id="{79767D98-E98C-43FE-D8D2-3A4C8C4D155A}"/>
              </a:ext>
            </a:extLst>
          </p:cNvPr>
          <p:cNvSpPr>
            <a:spLocks noGrp="1"/>
          </p:cNvSpPr>
          <p:nvPr>
            <p:ph idx="11" hasCustomPrompt="1"/>
          </p:nvPr>
        </p:nvSpPr>
        <p:spPr>
          <a:xfrm>
            <a:off x="1549712" y="3722300"/>
            <a:ext cx="9875526"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3" name="Text Placeholder 2">
            <a:extLst>
              <a:ext uri="{FF2B5EF4-FFF2-40B4-BE49-F238E27FC236}">
                <a16:creationId xmlns:a16="http://schemas.microsoft.com/office/drawing/2014/main" id="{124D6786-28F5-F83E-E1E0-E4D41C616AAF}"/>
              </a:ext>
            </a:extLst>
          </p:cNvPr>
          <p:cNvSpPr>
            <a:spLocks noGrp="1"/>
          </p:cNvSpPr>
          <p:nvPr>
            <p:ph idx="12" hasCustomPrompt="1"/>
          </p:nvPr>
        </p:nvSpPr>
        <p:spPr>
          <a:xfrm>
            <a:off x="1548840" y="4828867"/>
            <a:ext cx="9875526"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4" name="Title Placeholder 1">
            <a:extLst>
              <a:ext uri="{FF2B5EF4-FFF2-40B4-BE49-F238E27FC236}">
                <a16:creationId xmlns:a16="http://schemas.microsoft.com/office/drawing/2014/main" id="{AAD8FA1E-AE3F-5594-9FA9-7A273973DEFD}"/>
              </a:ext>
            </a:extLst>
          </p:cNvPr>
          <p:cNvSpPr>
            <a:spLocks noGrp="1"/>
          </p:cNvSpPr>
          <p:nvPr>
            <p:ph type="title" hasCustomPrompt="1"/>
          </p:nvPr>
        </p:nvSpPr>
        <p:spPr>
          <a:xfrm>
            <a:off x="766763" y="185966"/>
            <a:ext cx="10658475" cy="903288"/>
          </a:xfrm>
          <a:prstGeom prst="rect">
            <a:avLst/>
          </a:prstGeom>
        </p:spPr>
        <p:txBody>
          <a:bodyPr vert="horz" lIns="0" tIns="0" rIns="0" bIns="0" rtlCol="0" anchor="b">
            <a:normAutofit/>
          </a:bodyPr>
          <a:lstStyle>
            <a:lvl1pPr>
              <a:defRPr sz="2800">
                <a:solidFill>
                  <a:schemeClr val="accent2"/>
                </a:solidFill>
              </a:defRPr>
            </a:lvl1pPr>
          </a:lstStyle>
          <a:p>
            <a:r>
              <a:rPr lang="en-GB" dirty="0"/>
              <a:t>Click To Edit Master Title Style</a:t>
            </a:r>
            <a:endParaRPr lang="en-US" dirty="0"/>
          </a:p>
        </p:txBody>
      </p:sp>
      <p:sp>
        <p:nvSpPr>
          <p:cNvPr id="17" name="Rectangle 16">
            <a:extLst>
              <a:ext uri="{FF2B5EF4-FFF2-40B4-BE49-F238E27FC236}">
                <a16:creationId xmlns:a16="http://schemas.microsoft.com/office/drawing/2014/main" id="{3BD3048E-41AD-587D-D603-A879063DE834}"/>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05804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Imag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1"/>
            <a:ext cx="6862764"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2" name="Title 1"/>
          <p:cNvSpPr>
            <a:spLocks noGrp="1"/>
          </p:cNvSpPr>
          <p:nvPr>
            <p:ph type="title" hasCustomPrompt="1"/>
          </p:nvPr>
        </p:nvSpPr>
        <p:spPr>
          <a:xfrm>
            <a:off x="766763" y="443253"/>
            <a:ext cx="5329237" cy="989595"/>
          </a:xfrm>
          <a:prstGeom prst="rect">
            <a:avLst/>
          </a:prstGeom>
        </p:spPr>
        <p:txBody>
          <a:bodyPr lIns="0" anchor="ctr"/>
          <a:lstStyle>
            <a:lvl1pPr algn="l">
              <a:defRPr>
                <a:solidFill>
                  <a:srgbClr val="FFFFFF"/>
                </a:solidFill>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6862764" y="-2"/>
            <a:ext cx="5329236" cy="685800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6" name="Text Placeholder 3">
            <a:extLst>
              <a:ext uri="{FF2B5EF4-FFF2-40B4-BE49-F238E27FC236}">
                <a16:creationId xmlns:a16="http://schemas.microsoft.com/office/drawing/2014/main" id="{50FD9A30-2563-28B9-3D4D-21B0B6F06632}"/>
              </a:ext>
            </a:extLst>
          </p:cNvPr>
          <p:cNvSpPr>
            <a:spLocks noGrp="1"/>
          </p:cNvSpPr>
          <p:nvPr>
            <p:ph type="body" sz="quarter" idx="11"/>
          </p:nvPr>
        </p:nvSpPr>
        <p:spPr>
          <a:xfrm>
            <a:off x="766763" y="1432847"/>
            <a:ext cx="5329237" cy="4424097"/>
          </a:xfrm>
          <a:prstGeom prst="rect">
            <a:avLst/>
          </a:prstGeom>
        </p:spPr>
        <p:txBody>
          <a:bodyPr/>
          <a:lstStyle>
            <a:lvl1pPr>
              <a:buClr>
                <a:schemeClr val="accent1"/>
              </a:buClr>
              <a:defRPr sz="2000">
                <a:solidFill>
                  <a:schemeClr val="bg1"/>
                </a:solidFill>
              </a:defRPr>
            </a:lvl1pPr>
            <a:lvl2pPr>
              <a:buClr>
                <a:schemeClr val="accent1"/>
              </a:buClr>
              <a:defRPr sz="1800">
                <a:solidFill>
                  <a:schemeClr val="bg1"/>
                </a:solidFill>
              </a:defRPr>
            </a:lvl2pPr>
            <a:lvl3pPr>
              <a:buClr>
                <a:schemeClr val="accent1"/>
              </a:buClr>
              <a:defRPr sz="1600">
                <a:solidFill>
                  <a:schemeClr val="bg1"/>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3015117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F2674A-1254-96D1-EB5F-410185F8B938}"/>
              </a:ext>
            </a:extLst>
          </p:cNvPr>
          <p:cNvSpPr/>
          <p:nvPr userDrawn="1"/>
        </p:nvSpPr>
        <p:spPr>
          <a:xfrm>
            <a:off x="-2" y="4066976"/>
            <a:ext cx="8694753" cy="27910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a:extLst>
              <a:ext uri="{FF2B5EF4-FFF2-40B4-BE49-F238E27FC236}">
                <a16:creationId xmlns:a16="http://schemas.microsoft.com/office/drawing/2014/main" id="{417A7A22-EA8F-3097-7041-9876D5C2DDDB}"/>
              </a:ext>
            </a:extLst>
          </p:cNvPr>
          <p:cNvCxnSpPr/>
          <p:nvPr userDrawn="1"/>
        </p:nvCxnSpPr>
        <p:spPr>
          <a:xfrm>
            <a:off x="0" y="4046202"/>
            <a:ext cx="121920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9C33C87-247D-FAF1-92A4-F27C62887BAD}"/>
              </a:ext>
            </a:extLst>
          </p:cNvPr>
          <p:cNvSpPr txBox="1"/>
          <p:nvPr userDrawn="1"/>
        </p:nvSpPr>
        <p:spPr>
          <a:xfrm>
            <a:off x="10325501" y="5857678"/>
            <a:ext cx="299258" cy="369332"/>
          </a:xfrm>
          <a:prstGeom prst="rect">
            <a:avLst/>
          </a:prstGeom>
          <a:noFill/>
        </p:spPr>
        <p:txBody>
          <a:bodyPr wrap="square" rtlCol="0">
            <a:spAutoFit/>
          </a:bodyPr>
          <a:lstStyle/>
          <a:p>
            <a:r>
              <a:rPr lang="en-IN" dirty="0">
                <a:solidFill>
                  <a:schemeClr val="tx2"/>
                </a:solidFill>
                <a:latin typeface="Segoe UI" panose="020B0502040204020203" pitchFamily="34" charset="0"/>
                <a:cs typeface="Segoe UI" panose="020B0502040204020203" pitchFamily="34" charset="0"/>
              </a:rPr>
              <a:t>×</a:t>
            </a:r>
            <a:endParaRPr lang="en-US" dirty="0">
              <a:solidFill>
                <a:schemeClr val="tx2"/>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9AFFE04C-C5C0-4BAB-5029-28A613B7127C}"/>
              </a:ext>
            </a:extLst>
          </p:cNvPr>
          <p:cNvCxnSpPr>
            <a:cxnSpLocks/>
          </p:cNvCxnSpPr>
          <p:nvPr userDrawn="1"/>
        </p:nvCxnSpPr>
        <p:spPr>
          <a:xfrm flipH="1">
            <a:off x="9097433" y="5602965"/>
            <a:ext cx="2726267"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863A1B51-5B5D-DD2C-AD66-A4E801AB223E}"/>
              </a:ext>
            </a:extLst>
          </p:cNvPr>
          <p:cNvSpPr>
            <a:spLocks noGrp="1"/>
          </p:cNvSpPr>
          <p:nvPr>
            <p:ph type="pic" sz="quarter" idx="10"/>
          </p:nvPr>
        </p:nvSpPr>
        <p:spPr>
          <a:xfrm>
            <a:off x="0" y="0"/>
            <a:ext cx="12192000" cy="4025900"/>
          </a:xfrm>
          <a:prstGeom prst="rect">
            <a:avLst/>
          </a:prstGeom>
        </p:spPr>
        <p:txBody>
          <a:bodyPr anchor="ctr"/>
          <a:lstStyle>
            <a:lvl1pPr marL="0" indent="0" algn="ctr">
              <a:buNone/>
              <a:defRPr/>
            </a:lvl1pPr>
          </a:lstStyle>
          <a:p>
            <a:endParaRPr lang="en-GB" dirty="0"/>
          </a:p>
        </p:txBody>
      </p:sp>
      <p:sp>
        <p:nvSpPr>
          <p:cNvPr id="16" name="Picture Placeholder 15">
            <a:extLst>
              <a:ext uri="{FF2B5EF4-FFF2-40B4-BE49-F238E27FC236}">
                <a16:creationId xmlns:a16="http://schemas.microsoft.com/office/drawing/2014/main" id="{1D0AD777-F1ED-E54E-D0A5-8699A28978E1}"/>
              </a:ext>
            </a:extLst>
          </p:cNvPr>
          <p:cNvSpPr>
            <a:spLocks noGrp="1"/>
          </p:cNvSpPr>
          <p:nvPr>
            <p:ph type="pic" sz="quarter" idx="11" hasCustomPrompt="1"/>
          </p:nvPr>
        </p:nvSpPr>
        <p:spPr>
          <a:xfrm>
            <a:off x="9374188" y="4487864"/>
            <a:ext cx="2138362" cy="890588"/>
          </a:xfrm>
          <a:prstGeom prst="rect">
            <a:avLst/>
          </a:prstGeom>
        </p:spPr>
        <p:txBody>
          <a:bodyPr anchor="ctr"/>
          <a:lstStyle>
            <a:lvl1pPr marL="0" indent="0" algn="ctr">
              <a:buNone/>
              <a:defRPr sz="1600"/>
            </a:lvl1pPr>
          </a:lstStyle>
          <a:p>
            <a:r>
              <a:rPr lang="en-US" dirty="0"/>
              <a:t>Logo</a:t>
            </a:r>
            <a:endParaRPr lang="en-GB" dirty="0"/>
          </a:p>
        </p:txBody>
      </p:sp>
      <p:sp>
        <p:nvSpPr>
          <p:cNvPr id="17" name="Picture Placeholder 15">
            <a:extLst>
              <a:ext uri="{FF2B5EF4-FFF2-40B4-BE49-F238E27FC236}">
                <a16:creationId xmlns:a16="http://schemas.microsoft.com/office/drawing/2014/main" id="{AC63C1FB-353B-652E-05C8-D5108882B312}"/>
              </a:ext>
            </a:extLst>
          </p:cNvPr>
          <p:cNvSpPr>
            <a:spLocks noGrp="1"/>
          </p:cNvSpPr>
          <p:nvPr>
            <p:ph type="pic" sz="quarter" idx="12" hasCustomPrompt="1"/>
          </p:nvPr>
        </p:nvSpPr>
        <p:spPr>
          <a:xfrm>
            <a:off x="9201624" y="5825978"/>
            <a:ext cx="1123877" cy="468074"/>
          </a:xfrm>
          <a:prstGeom prst="rect">
            <a:avLst/>
          </a:prstGeom>
        </p:spPr>
        <p:txBody>
          <a:bodyPr anchor="ctr"/>
          <a:lstStyle>
            <a:lvl1pPr marL="0" indent="0" algn="ctr">
              <a:buNone/>
              <a:defRPr sz="1600"/>
            </a:lvl1pPr>
          </a:lstStyle>
          <a:p>
            <a:r>
              <a:rPr lang="en-US" dirty="0"/>
              <a:t>Logo</a:t>
            </a:r>
            <a:endParaRPr lang="en-GB" dirty="0"/>
          </a:p>
        </p:txBody>
      </p:sp>
      <p:sp>
        <p:nvSpPr>
          <p:cNvPr id="18" name="Picture Placeholder 15">
            <a:extLst>
              <a:ext uri="{FF2B5EF4-FFF2-40B4-BE49-F238E27FC236}">
                <a16:creationId xmlns:a16="http://schemas.microsoft.com/office/drawing/2014/main" id="{C435D77C-40AB-691E-9658-463A7411EB0C}"/>
              </a:ext>
            </a:extLst>
          </p:cNvPr>
          <p:cNvSpPr>
            <a:spLocks noGrp="1"/>
          </p:cNvSpPr>
          <p:nvPr>
            <p:ph type="pic" sz="quarter" idx="13" hasCustomPrompt="1"/>
          </p:nvPr>
        </p:nvSpPr>
        <p:spPr>
          <a:xfrm>
            <a:off x="10660740" y="5823432"/>
            <a:ext cx="1123877" cy="468074"/>
          </a:xfrm>
          <a:prstGeom prst="rect">
            <a:avLst/>
          </a:prstGeom>
        </p:spPr>
        <p:txBody>
          <a:bodyPr anchor="ctr"/>
          <a:lstStyle>
            <a:lvl1pPr marL="0" indent="0" algn="ctr">
              <a:buNone/>
              <a:defRPr sz="1600"/>
            </a:lvl1pPr>
          </a:lstStyle>
          <a:p>
            <a:r>
              <a:rPr lang="en-US" dirty="0"/>
              <a:t>Logo</a:t>
            </a:r>
            <a:endParaRPr lang="en-GB" dirty="0"/>
          </a:p>
        </p:txBody>
      </p:sp>
      <p:sp>
        <p:nvSpPr>
          <p:cNvPr id="22" name="Text Placeholder 21">
            <a:extLst>
              <a:ext uri="{FF2B5EF4-FFF2-40B4-BE49-F238E27FC236}">
                <a16:creationId xmlns:a16="http://schemas.microsoft.com/office/drawing/2014/main" id="{9FEF952C-51AC-CCA3-5328-34E5AF35698F}"/>
              </a:ext>
            </a:extLst>
          </p:cNvPr>
          <p:cNvSpPr>
            <a:spLocks noGrp="1"/>
          </p:cNvSpPr>
          <p:nvPr>
            <p:ph type="body" sz="quarter" idx="14" hasCustomPrompt="1"/>
          </p:nvPr>
        </p:nvSpPr>
        <p:spPr>
          <a:xfrm>
            <a:off x="766763" y="4352925"/>
            <a:ext cx="6967537" cy="657225"/>
          </a:xfrm>
          <a:prstGeom prst="rect">
            <a:avLst/>
          </a:prstGeom>
        </p:spPr>
        <p:txBody>
          <a:bodyPr anchor="b"/>
          <a:lstStyle>
            <a:lvl1pPr marL="0" indent="0">
              <a:buNone/>
              <a:defRPr sz="3200" b="1">
                <a:solidFill>
                  <a:schemeClr val="bg1"/>
                </a:solidFill>
              </a:defRPr>
            </a:lvl1pPr>
          </a:lstStyle>
          <a:p>
            <a:pPr lvl="0"/>
            <a:r>
              <a:rPr lang="en-US" dirty="0"/>
              <a:t>Click to edit Title</a:t>
            </a:r>
          </a:p>
        </p:txBody>
      </p:sp>
      <p:sp>
        <p:nvSpPr>
          <p:cNvPr id="23" name="Text Placeholder 21">
            <a:extLst>
              <a:ext uri="{FF2B5EF4-FFF2-40B4-BE49-F238E27FC236}">
                <a16:creationId xmlns:a16="http://schemas.microsoft.com/office/drawing/2014/main" id="{2F933BE7-BF73-A899-0EB4-AF04B7F1BEDF}"/>
              </a:ext>
            </a:extLst>
          </p:cNvPr>
          <p:cNvSpPr>
            <a:spLocks noGrp="1"/>
          </p:cNvSpPr>
          <p:nvPr>
            <p:ph type="body" sz="quarter" idx="15" hasCustomPrompt="1"/>
          </p:nvPr>
        </p:nvSpPr>
        <p:spPr>
          <a:xfrm>
            <a:off x="766762" y="5090202"/>
            <a:ext cx="6967537" cy="1025525"/>
          </a:xfrm>
          <a:prstGeom prst="rect">
            <a:avLst/>
          </a:prstGeom>
        </p:spPr>
        <p:txBody>
          <a:bodyPr/>
          <a:lstStyle>
            <a:lvl1pPr marL="0" indent="0">
              <a:buNone/>
              <a:defRPr sz="2000" b="1">
                <a:solidFill>
                  <a:schemeClr val="accent1"/>
                </a:solidFill>
              </a:defRPr>
            </a:lvl1pPr>
          </a:lstStyle>
          <a:p>
            <a:pPr lvl="0"/>
            <a:r>
              <a:rPr lang="en-US" dirty="0"/>
              <a:t>Click to edit Subtitle</a:t>
            </a:r>
          </a:p>
        </p:txBody>
      </p:sp>
    </p:spTree>
    <p:extLst>
      <p:ext uri="{BB962C8B-B14F-4D97-AF65-F5344CB8AC3E}">
        <p14:creationId xmlns:p14="http://schemas.microsoft.com/office/powerpoint/2010/main" val="3439450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 Imag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DAD774-DB30-D585-E48E-2D2CDDE43DCF}"/>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0096BB3D-1A40-0BEC-B72C-46849337B851}"/>
              </a:ext>
            </a:extLst>
          </p:cNvPr>
          <p:cNvSpPr>
            <a:spLocks noGrp="1"/>
          </p:cNvSpPr>
          <p:nvPr>
            <p:ph type="title" hasCustomPrompt="1"/>
          </p:nvPr>
        </p:nvSpPr>
        <p:spPr>
          <a:xfrm>
            <a:off x="766763" y="2705876"/>
            <a:ext cx="10658475" cy="1036260"/>
          </a:xfrm>
          <a:prstGeom prst="rect">
            <a:avLst/>
          </a:prstGeom>
        </p:spPr>
        <p:txBody>
          <a:bodyPr lIns="0" anchor="ctr"/>
          <a:lstStyle>
            <a:lvl1pPr algn="l">
              <a:defRPr sz="2800">
                <a:solidFill>
                  <a:schemeClr val="accent2"/>
                </a:solidFill>
              </a:defRPr>
            </a:lvl1pPr>
          </a:lstStyle>
          <a:p>
            <a:r>
              <a:rPr lang="en-GB" dirty="0"/>
              <a:t>Click To Add Text</a:t>
            </a:r>
            <a:endParaRPr lang="en-US" dirty="0"/>
          </a:p>
        </p:txBody>
      </p:sp>
      <p:sp>
        <p:nvSpPr>
          <p:cNvPr id="8" name="Picture Placeholder 17">
            <a:extLst>
              <a:ext uri="{FF2B5EF4-FFF2-40B4-BE49-F238E27FC236}">
                <a16:creationId xmlns:a16="http://schemas.microsoft.com/office/drawing/2014/main" id="{6321A635-EE39-0E8C-6B7D-D62D8FA88418}"/>
              </a:ext>
            </a:extLst>
          </p:cNvPr>
          <p:cNvSpPr>
            <a:spLocks noGrp="1"/>
          </p:cNvSpPr>
          <p:nvPr>
            <p:ph type="pic" sz="quarter" idx="10"/>
          </p:nvPr>
        </p:nvSpPr>
        <p:spPr>
          <a:xfrm>
            <a:off x="0" y="-1"/>
            <a:ext cx="12192000" cy="2705877"/>
          </a:xfrm>
          <a:prstGeom prst="rect">
            <a:avLst/>
          </a:prstGeom>
        </p:spPr>
        <p:txBody>
          <a:bodyPr/>
          <a:lstStyle/>
          <a:p>
            <a:endParaRPr lang="en-US"/>
          </a:p>
        </p:txBody>
      </p:sp>
      <p:sp>
        <p:nvSpPr>
          <p:cNvPr id="9" name="Slide Number Placeholder 5">
            <a:extLst>
              <a:ext uri="{FF2B5EF4-FFF2-40B4-BE49-F238E27FC236}">
                <a16:creationId xmlns:a16="http://schemas.microsoft.com/office/drawing/2014/main" id="{6DF14B20-BDDE-DF87-5A03-AC34CC60A582}"/>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solidFill>
                  <a:srgbClr val="FFFFFF"/>
                </a:solidFill>
              </a:rPr>
              <a:pPr/>
              <a:t>‹#›</a:t>
            </a:fld>
            <a:endParaRPr lang="en-US" sz="1000" dirty="0">
              <a:solidFill>
                <a:srgbClr val="FFFFFF"/>
              </a:solidFill>
            </a:endParaRPr>
          </a:p>
        </p:txBody>
      </p:sp>
      <p:pic>
        <p:nvPicPr>
          <p:cNvPr id="11" name="Picture 10">
            <a:extLst>
              <a:ext uri="{FF2B5EF4-FFF2-40B4-BE49-F238E27FC236}">
                <a16:creationId xmlns:a16="http://schemas.microsoft.com/office/drawing/2014/main" id="{2954A5C7-00DA-FFFB-1826-FE063204CD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3" name="Text Placeholder 3">
            <a:extLst>
              <a:ext uri="{FF2B5EF4-FFF2-40B4-BE49-F238E27FC236}">
                <a16:creationId xmlns:a16="http://schemas.microsoft.com/office/drawing/2014/main" id="{73267F02-CCE3-A629-3F8A-2C4701E1C056}"/>
              </a:ext>
            </a:extLst>
          </p:cNvPr>
          <p:cNvSpPr>
            <a:spLocks noGrp="1"/>
          </p:cNvSpPr>
          <p:nvPr>
            <p:ph type="body" sz="quarter" idx="11"/>
          </p:nvPr>
        </p:nvSpPr>
        <p:spPr>
          <a:xfrm>
            <a:off x="766763" y="3742137"/>
            <a:ext cx="10658475" cy="2114808"/>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99742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ouble side Content ">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F38FDCDA-E94F-5F80-1739-1076B213EFA0}"/>
              </a:ext>
            </a:extLst>
          </p:cNvPr>
          <p:cNvSpPr>
            <a:spLocks noGrp="1"/>
          </p:cNvSpPr>
          <p:nvPr>
            <p:ph type="sldNum" sz="quarter" idx="12"/>
          </p:nvPr>
        </p:nvSpPr>
        <p:spPr>
          <a:xfrm>
            <a:off x="10641466" y="6486863"/>
            <a:ext cx="874032" cy="365125"/>
          </a:xfrm>
          <a:prstGeom prst="rect">
            <a:avLst/>
          </a:prstGeom>
        </p:spPr>
        <p:txBody>
          <a:bodyPr/>
          <a:lstStyle/>
          <a:p>
            <a:fld id="{48F63A3B-78C7-47BE-AE5E-E10140E04643}" type="slidenum">
              <a:rPr lang="en-US" smtClean="0"/>
              <a:t>‹#›</a:t>
            </a:fld>
            <a:endParaRPr lang="en-US" dirty="0"/>
          </a:p>
        </p:txBody>
      </p:sp>
      <p:sp>
        <p:nvSpPr>
          <p:cNvPr id="9" name="Title Placeholder 1">
            <a:extLst>
              <a:ext uri="{FF2B5EF4-FFF2-40B4-BE49-F238E27FC236}">
                <a16:creationId xmlns:a16="http://schemas.microsoft.com/office/drawing/2014/main" id="{24633609-93A2-53EF-5DD4-A2F20CF60C97}"/>
              </a:ext>
            </a:extLst>
          </p:cNvPr>
          <p:cNvSpPr>
            <a:spLocks noGrp="1"/>
          </p:cNvSpPr>
          <p:nvPr>
            <p:ph type="title" hasCustomPrompt="1"/>
          </p:nvPr>
        </p:nvSpPr>
        <p:spPr>
          <a:xfrm>
            <a:off x="766763" y="185966"/>
            <a:ext cx="10658475" cy="903288"/>
          </a:xfrm>
          <a:prstGeom prst="rect">
            <a:avLst/>
          </a:prstGeom>
        </p:spPr>
        <p:txBody>
          <a:bodyPr vert="horz" lIns="0" tIns="0" rIns="0" bIns="0" rtlCol="0" anchor="b">
            <a:normAutofit/>
          </a:bodyPr>
          <a:lstStyle>
            <a:lvl1pPr>
              <a:defRPr sz="2800">
                <a:solidFill>
                  <a:schemeClr val="accent2"/>
                </a:solidFill>
              </a:defRPr>
            </a:lvl1pPr>
          </a:lstStyle>
          <a:p>
            <a:r>
              <a:rPr lang="en-GB" dirty="0"/>
              <a:t>Click To Edit Master Title Style</a:t>
            </a:r>
            <a:endParaRPr lang="en-US" dirty="0"/>
          </a:p>
        </p:txBody>
      </p:sp>
      <p:sp>
        <p:nvSpPr>
          <p:cNvPr id="10" name="Rectangle 9">
            <a:extLst>
              <a:ext uri="{FF2B5EF4-FFF2-40B4-BE49-F238E27FC236}">
                <a16:creationId xmlns:a16="http://schemas.microsoft.com/office/drawing/2014/main" id="{6CAAD997-7829-8011-41BC-4C8A3406F41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4F207CD3-FD04-9E29-E649-D7F8717E592D}"/>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660A1290-B9A7-F6AD-C176-9D8D826A85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Text Placeholder 3">
            <a:extLst>
              <a:ext uri="{FF2B5EF4-FFF2-40B4-BE49-F238E27FC236}">
                <a16:creationId xmlns:a16="http://schemas.microsoft.com/office/drawing/2014/main" id="{492E9533-2BA6-CD8A-904E-24DB3A24F8EF}"/>
              </a:ext>
            </a:extLst>
          </p:cNvPr>
          <p:cNvSpPr>
            <a:spLocks noGrp="1"/>
          </p:cNvSpPr>
          <p:nvPr>
            <p:ph type="body" sz="quarter" idx="10"/>
          </p:nvPr>
        </p:nvSpPr>
        <p:spPr>
          <a:xfrm>
            <a:off x="766763" y="1342095"/>
            <a:ext cx="5329237"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6" name="Text Placeholder 3">
            <a:extLst>
              <a:ext uri="{FF2B5EF4-FFF2-40B4-BE49-F238E27FC236}">
                <a16:creationId xmlns:a16="http://schemas.microsoft.com/office/drawing/2014/main" id="{91A4214A-D157-FDFB-51C7-309D097F7D06}"/>
              </a:ext>
            </a:extLst>
          </p:cNvPr>
          <p:cNvSpPr>
            <a:spLocks noGrp="1"/>
          </p:cNvSpPr>
          <p:nvPr>
            <p:ph type="body" sz="quarter" idx="13"/>
          </p:nvPr>
        </p:nvSpPr>
        <p:spPr>
          <a:xfrm>
            <a:off x="6096001" y="1336082"/>
            <a:ext cx="5329237"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2" name="Rectangle 11">
            <a:extLst>
              <a:ext uri="{FF2B5EF4-FFF2-40B4-BE49-F238E27FC236}">
                <a16:creationId xmlns:a16="http://schemas.microsoft.com/office/drawing/2014/main" id="{2EF81579-5F73-5C9E-AB48-107F48F2E063}"/>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44728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B31582-DC53-8888-9550-ADB8C6E3B394}"/>
              </a:ext>
            </a:extLst>
          </p:cNvPr>
          <p:cNvSpPr/>
          <p:nvPr userDrawn="1"/>
        </p:nvSpPr>
        <p:spPr>
          <a:xfrm>
            <a:off x="0" y="-1073"/>
            <a:ext cx="12192000" cy="5265738"/>
          </a:xfrm>
          <a:prstGeom prst="rect">
            <a:avLst/>
          </a:prstGeom>
          <a:solidFill>
            <a:schemeClr val="accent2"/>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 name="Straight Connector 3">
            <a:extLst>
              <a:ext uri="{FF2B5EF4-FFF2-40B4-BE49-F238E27FC236}">
                <a16:creationId xmlns:a16="http://schemas.microsoft.com/office/drawing/2014/main" id="{00369DA3-CDC8-D666-2FED-B465C35E3852}"/>
              </a:ext>
            </a:extLst>
          </p:cNvPr>
          <p:cNvCxnSpPr>
            <a:cxnSpLocks/>
          </p:cNvCxnSpPr>
          <p:nvPr userDrawn="1"/>
        </p:nvCxnSpPr>
        <p:spPr>
          <a:xfrm>
            <a:off x="6182397" y="5591999"/>
            <a:ext cx="0" cy="96150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5C42AAF-00C2-BDB8-03DD-5BA4EC9603D6}"/>
              </a:ext>
            </a:extLst>
          </p:cNvPr>
          <p:cNvSpPr txBox="1"/>
          <p:nvPr userDrawn="1"/>
        </p:nvSpPr>
        <p:spPr>
          <a:xfrm>
            <a:off x="766763" y="1089025"/>
            <a:ext cx="10658475" cy="830997"/>
          </a:xfrm>
          <a:prstGeom prst="rect">
            <a:avLst/>
          </a:prstGeom>
          <a:noFill/>
        </p:spPr>
        <p:txBody>
          <a:bodyPr wrap="square" rtlCol="0">
            <a:spAutoFit/>
          </a:bodyPr>
          <a:lstStyle/>
          <a:p>
            <a:pPr algn="ctr"/>
            <a:r>
              <a:rPr lang="en-US" sz="4800" b="1" dirty="0">
                <a:solidFill>
                  <a:schemeClr val="bg1"/>
                </a:solidFill>
                <a:latin typeface="+mj-lt"/>
              </a:rPr>
              <a:t>Thank You!</a:t>
            </a:r>
            <a:endParaRPr lang="en-GB" sz="4800" b="1" dirty="0">
              <a:solidFill>
                <a:schemeClr val="bg1"/>
              </a:solidFill>
              <a:latin typeface="+mj-lt"/>
            </a:endParaRPr>
          </a:p>
        </p:txBody>
      </p:sp>
      <p:cxnSp>
        <p:nvCxnSpPr>
          <p:cNvPr id="6" name="Straight Connector 5">
            <a:extLst>
              <a:ext uri="{FF2B5EF4-FFF2-40B4-BE49-F238E27FC236}">
                <a16:creationId xmlns:a16="http://schemas.microsoft.com/office/drawing/2014/main" id="{A14D8F1F-5F17-CEE5-0EB8-2C5622199AE1}"/>
              </a:ext>
            </a:extLst>
          </p:cNvPr>
          <p:cNvCxnSpPr>
            <a:cxnSpLocks/>
          </p:cNvCxnSpPr>
          <p:nvPr userDrawn="1"/>
        </p:nvCxnSpPr>
        <p:spPr>
          <a:xfrm>
            <a:off x="0" y="5283715"/>
            <a:ext cx="121920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179840A4-B9C6-48BE-B8E2-28575BBECBE1}"/>
              </a:ext>
            </a:extLst>
          </p:cNvPr>
          <p:cNvSpPr>
            <a:spLocks noGrp="1"/>
          </p:cNvSpPr>
          <p:nvPr>
            <p:ph type="pic" sz="quarter" idx="10" hasCustomPrompt="1"/>
          </p:nvPr>
        </p:nvSpPr>
        <p:spPr>
          <a:xfrm>
            <a:off x="1943100" y="5695950"/>
            <a:ext cx="3381375" cy="790575"/>
          </a:xfrm>
          <a:prstGeom prst="rect">
            <a:avLst/>
          </a:prstGeom>
        </p:spPr>
        <p:txBody>
          <a:bodyPr anchor="ctr"/>
          <a:lstStyle>
            <a:lvl1pPr marL="0" indent="0" algn="ctr">
              <a:buNone/>
              <a:defRPr sz="2000"/>
            </a:lvl1pPr>
          </a:lstStyle>
          <a:p>
            <a:r>
              <a:rPr lang="en-US" dirty="0"/>
              <a:t>Logo</a:t>
            </a:r>
            <a:endParaRPr lang="en-GB" dirty="0"/>
          </a:p>
        </p:txBody>
      </p:sp>
      <p:sp>
        <p:nvSpPr>
          <p:cNvPr id="9" name="Picture Placeholder 7">
            <a:extLst>
              <a:ext uri="{FF2B5EF4-FFF2-40B4-BE49-F238E27FC236}">
                <a16:creationId xmlns:a16="http://schemas.microsoft.com/office/drawing/2014/main" id="{E44F1CE8-E5C7-5189-6159-2A52EF92399D}"/>
              </a:ext>
            </a:extLst>
          </p:cNvPr>
          <p:cNvSpPr>
            <a:spLocks noGrp="1"/>
          </p:cNvSpPr>
          <p:nvPr>
            <p:ph type="pic" sz="quarter" idx="11" hasCustomPrompt="1"/>
          </p:nvPr>
        </p:nvSpPr>
        <p:spPr>
          <a:xfrm>
            <a:off x="7040320" y="5695950"/>
            <a:ext cx="3381375" cy="790575"/>
          </a:xfrm>
          <a:prstGeom prst="rect">
            <a:avLst/>
          </a:prstGeom>
        </p:spPr>
        <p:txBody>
          <a:bodyPr anchor="ctr"/>
          <a:lstStyle>
            <a:lvl1pPr marL="0" indent="0" algn="ctr">
              <a:buNone/>
              <a:defRPr sz="2000"/>
            </a:lvl1pPr>
          </a:lstStyle>
          <a:p>
            <a:r>
              <a:rPr lang="en-US" dirty="0"/>
              <a:t>Logo</a:t>
            </a:r>
            <a:endParaRPr lang="en-GB" dirty="0"/>
          </a:p>
        </p:txBody>
      </p:sp>
      <p:sp>
        <p:nvSpPr>
          <p:cNvPr id="11" name="Text Placeholder 10">
            <a:extLst>
              <a:ext uri="{FF2B5EF4-FFF2-40B4-BE49-F238E27FC236}">
                <a16:creationId xmlns:a16="http://schemas.microsoft.com/office/drawing/2014/main" id="{3385E2CB-8B1B-6ED7-D1C4-901EA6872831}"/>
              </a:ext>
            </a:extLst>
          </p:cNvPr>
          <p:cNvSpPr>
            <a:spLocks noGrp="1"/>
          </p:cNvSpPr>
          <p:nvPr>
            <p:ph type="body" sz="quarter" idx="12" hasCustomPrompt="1"/>
          </p:nvPr>
        </p:nvSpPr>
        <p:spPr>
          <a:xfrm>
            <a:off x="766763" y="2276475"/>
            <a:ext cx="10658475" cy="2595563"/>
          </a:xfrm>
          <a:prstGeom prst="rect">
            <a:avLst/>
          </a:prstGeom>
        </p:spPr>
        <p:txBody>
          <a:bodyPr/>
          <a:lstStyle>
            <a:lvl1pPr marL="0" indent="0" algn="ctr">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Tree>
    <p:extLst>
      <p:ext uri="{BB962C8B-B14F-4D97-AF65-F5344CB8AC3E}">
        <p14:creationId xmlns:p14="http://schemas.microsoft.com/office/powerpoint/2010/main" val="599208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lain ">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98464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FB97DD1-3640-0046-80F8-A1698790D569}"/>
              </a:ext>
            </a:extLst>
          </p:cNvPr>
          <p:cNvSpPr>
            <a:spLocks noGrp="1"/>
          </p:cNvSpPr>
          <p:nvPr>
            <p:ph type="sldNum" sz="quarter" idx="12"/>
          </p:nvPr>
        </p:nvSpPr>
        <p:spPr/>
        <p:txBody>
          <a:bodyPr/>
          <a:lstStyle/>
          <a:p>
            <a:fld id="{4085E193-80A3-DE43-A010-614AC67AB25A}" type="slidenum">
              <a:rPr lang="en-US" smtClean="0"/>
              <a:t>‹#›</a:t>
            </a:fld>
            <a:endParaRPr lang="en-US"/>
          </a:p>
        </p:txBody>
      </p:sp>
      <p:sp>
        <p:nvSpPr>
          <p:cNvPr id="3" name="Rectangle 2">
            <a:extLst>
              <a:ext uri="{FF2B5EF4-FFF2-40B4-BE49-F238E27FC236}">
                <a16:creationId xmlns:a16="http://schemas.microsoft.com/office/drawing/2014/main" id="{75EC05D0-3592-402C-BE3B-AEDDB4C627B5}"/>
              </a:ext>
            </a:extLst>
          </p:cNvPr>
          <p:cNvSpPr/>
          <p:nvPr userDrawn="1"/>
        </p:nvSpPr>
        <p:spPr>
          <a:xfrm>
            <a:off x="1" y="6179354"/>
            <a:ext cx="12192000" cy="678647"/>
          </a:xfrm>
          <a:prstGeom prst="rect">
            <a:avLst/>
          </a:prstGeom>
          <a:solidFill>
            <a:srgbClr val="082567"/>
          </a:solidFill>
          <a:ln w="9525" cap="flat" cmpd="sng">
            <a:noFill/>
            <a:prstDash val="solid"/>
            <a:round/>
            <a:headEnd type="none" w="sm" len="sm"/>
            <a:tailEnd type="none" w="sm" len="sm"/>
          </a:ln>
        </p:spPr>
        <p:txBody>
          <a:bodyPr spcFirstLastPara="1" wrap="square" lIns="91425" tIns="91425" rIns="91425" bIns="91425" rtlCol="0" anchor="ctr" anchorCtr="0">
            <a:noAutofit/>
          </a:bodyPr>
          <a:lstStyle/>
          <a:p>
            <a:pPr marL="0" indent="0" algn="l" rtl="0">
              <a:spcBef>
                <a:spcPts val="0"/>
              </a:spcBef>
              <a:spcAft>
                <a:spcPts val="0"/>
              </a:spcAft>
              <a:buNone/>
            </a:pPr>
            <a:endParaRPr lang="en-US" dirty="0">
              <a:solidFill>
                <a:srgbClr val="3B4DA5"/>
              </a:solidFill>
              <a:latin typeface="Segoe UI" panose="020B0502040204020203" pitchFamily="34" charset="0"/>
            </a:endParaRPr>
          </a:p>
        </p:txBody>
      </p:sp>
      <p:pic>
        <p:nvPicPr>
          <p:cNvPr id="4" name="Picture 3">
            <a:extLst>
              <a:ext uri="{FF2B5EF4-FFF2-40B4-BE49-F238E27FC236}">
                <a16:creationId xmlns:a16="http://schemas.microsoft.com/office/drawing/2014/main" id="{B7C5EDDA-B5D8-43F8-85A0-40D1A772ED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0087" y="6336364"/>
            <a:ext cx="820409" cy="364626"/>
          </a:xfrm>
          <a:prstGeom prst="rect">
            <a:avLst/>
          </a:prstGeom>
        </p:spPr>
      </p:pic>
      <p:sp>
        <p:nvSpPr>
          <p:cNvPr id="5" name="Rectangle 4">
            <a:extLst>
              <a:ext uri="{FF2B5EF4-FFF2-40B4-BE49-F238E27FC236}">
                <a16:creationId xmlns:a16="http://schemas.microsoft.com/office/drawing/2014/main" id="{938E8475-8EF5-4030-AFBF-DC117C50FF09}"/>
              </a:ext>
            </a:extLst>
          </p:cNvPr>
          <p:cNvSpPr/>
          <p:nvPr userDrawn="1"/>
        </p:nvSpPr>
        <p:spPr>
          <a:xfrm>
            <a:off x="1" y="1"/>
            <a:ext cx="12192000" cy="60960"/>
          </a:xfrm>
          <a:prstGeom prst="rect">
            <a:avLst/>
          </a:prstGeom>
          <a:solidFill>
            <a:srgbClr val="082567"/>
          </a:solidFill>
          <a:ln w="9525" cap="flat" cmpd="sng">
            <a:noFill/>
            <a:prstDash val="solid"/>
            <a:round/>
            <a:headEnd type="none" w="sm" len="sm"/>
            <a:tailEnd type="none" w="sm" len="sm"/>
          </a:ln>
        </p:spPr>
        <p:txBody>
          <a:bodyPr spcFirstLastPara="1" wrap="square" lIns="91425" tIns="91425" rIns="91425" bIns="91425" rtlCol="0" anchor="ctr" anchorCtr="0">
            <a:noAutofit/>
          </a:bodyPr>
          <a:lstStyle/>
          <a:p>
            <a:pPr marL="0" indent="0" algn="l" rtl="0">
              <a:spcBef>
                <a:spcPts val="0"/>
              </a:spcBef>
              <a:spcAft>
                <a:spcPts val="0"/>
              </a:spcAft>
              <a:buNone/>
            </a:pPr>
            <a:endParaRPr lang="en-US" dirty="0">
              <a:solidFill>
                <a:srgbClr val="3B4DA5"/>
              </a:solidFill>
              <a:latin typeface="Segoe UI" panose="020B0502040204020203" pitchFamily="34" charset="0"/>
            </a:endParaRPr>
          </a:p>
        </p:txBody>
      </p:sp>
      <p:sp>
        <p:nvSpPr>
          <p:cNvPr id="7" name="Slide Number Placeholder 5">
            <a:extLst>
              <a:ext uri="{FF2B5EF4-FFF2-40B4-BE49-F238E27FC236}">
                <a16:creationId xmlns:a16="http://schemas.microsoft.com/office/drawing/2014/main" id="{E0923D60-F0D7-4D9C-AB4E-CD32BCD2AE03}"/>
              </a:ext>
            </a:extLst>
          </p:cNvPr>
          <p:cNvSpPr txBox="1">
            <a:spLocks/>
          </p:cNvSpPr>
          <p:nvPr userDrawn="1"/>
        </p:nvSpPr>
        <p:spPr>
          <a:xfrm>
            <a:off x="8763000" y="637222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85E193-80A3-DE43-A010-614AC67AB25A}" type="slidenum">
              <a:rPr lang="en-US" sz="1100" smtClean="0">
                <a:solidFill>
                  <a:schemeClr val="bg1"/>
                </a:solidFill>
                <a:latin typeface="Segoe UI" panose="020B0502040204020203" pitchFamily="34" charset="0"/>
                <a:cs typeface="Segoe UI" panose="020B0502040204020203" pitchFamily="34" charset="0"/>
              </a:rPr>
              <a:pPr/>
              <a:t>‹#›</a:t>
            </a:fld>
            <a:endParaRPr lang="en-US" sz="11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908837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082567"/>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A2DDEB-BE39-4F15-9DC5-8BB0D7055CFE}"/>
              </a:ext>
            </a:extLst>
          </p:cNvPr>
          <p:cNvSpPr/>
          <p:nvPr userDrawn="1"/>
        </p:nvSpPr>
        <p:spPr>
          <a:xfrm>
            <a:off x="0" y="1"/>
            <a:ext cx="12192001" cy="60960"/>
          </a:xfrm>
          <a:prstGeom prst="rect">
            <a:avLst/>
          </a:prstGeom>
          <a:solidFill>
            <a:srgbClr val="F26752"/>
          </a:solidFill>
          <a:ln w="9525" cap="flat" cmpd="sng">
            <a:noFill/>
            <a:prstDash val="solid"/>
            <a:round/>
            <a:headEnd type="none" w="sm" len="sm"/>
            <a:tailEnd type="none" w="sm" len="sm"/>
          </a:ln>
        </p:spPr>
        <p:txBody>
          <a:bodyPr spcFirstLastPara="1" wrap="square" lIns="91425" tIns="91425" rIns="91425" bIns="91425" rtlCol="0" anchor="ctr" anchorCtr="0">
            <a:noAutofit/>
          </a:bodyPr>
          <a:lstStyle/>
          <a:p>
            <a:pPr marL="0" indent="0" algn="l" rtl="0">
              <a:spcBef>
                <a:spcPts val="0"/>
              </a:spcBef>
              <a:spcAft>
                <a:spcPts val="0"/>
              </a:spcAft>
              <a:buNone/>
            </a:pPr>
            <a:endParaRPr lang="en-US" dirty="0">
              <a:solidFill>
                <a:srgbClr val="3B4DA5"/>
              </a:solidFill>
              <a:latin typeface="Segoe UI" panose="020B0502040204020203" pitchFamily="34" charset="0"/>
            </a:endParaRPr>
          </a:p>
        </p:txBody>
      </p:sp>
      <p:sp>
        <p:nvSpPr>
          <p:cNvPr id="3" name="Rectangle 2">
            <a:extLst>
              <a:ext uri="{FF2B5EF4-FFF2-40B4-BE49-F238E27FC236}">
                <a16:creationId xmlns:a16="http://schemas.microsoft.com/office/drawing/2014/main" id="{06CC6923-EF52-4392-B1A2-7BC6547D99A0}"/>
              </a:ext>
            </a:extLst>
          </p:cNvPr>
          <p:cNvSpPr/>
          <p:nvPr userDrawn="1"/>
        </p:nvSpPr>
        <p:spPr>
          <a:xfrm>
            <a:off x="1" y="6179354"/>
            <a:ext cx="12192000" cy="678647"/>
          </a:xfrm>
          <a:prstGeom prst="rect">
            <a:avLst/>
          </a:prstGeom>
          <a:solidFill>
            <a:srgbClr val="F26752"/>
          </a:solidFill>
          <a:ln w="9525" cap="flat" cmpd="sng">
            <a:noFill/>
            <a:prstDash val="solid"/>
            <a:round/>
            <a:headEnd type="none" w="sm" len="sm"/>
            <a:tailEnd type="none" w="sm" len="sm"/>
          </a:ln>
        </p:spPr>
        <p:txBody>
          <a:bodyPr spcFirstLastPara="1" wrap="square" lIns="91425" tIns="91425" rIns="91425" bIns="91425" rtlCol="0" anchor="ctr" anchorCtr="0">
            <a:noAutofit/>
          </a:bodyPr>
          <a:lstStyle/>
          <a:p>
            <a:pPr marL="0" indent="0" algn="l" rtl="0">
              <a:spcBef>
                <a:spcPts val="0"/>
              </a:spcBef>
              <a:spcAft>
                <a:spcPts val="0"/>
              </a:spcAft>
              <a:buNone/>
            </a:pPr>
            <a:endParaRPr lang="en-US" dirty="0">
              <a:solidFill>
                <a:srgbClr val="3B4DA5"/>
              </a:solidFill>
              <a:latin typeface="Segoe UI" panose="020B0502040204020203" pitchFamily="34" charset="0"/>
            </a:endParaRPr>
          </a:p>
        </p:txBody>
      </p:sp>
      <p:pic>
        <p:nvPicPr>
          <p:cNvPr id="4" name="Picture 3">
            <a:extLst>
              <a:ext uri="{FF2B5EF4-FFF2-40B4-BE49-F238E27FC236}">
                <a16:creationId xmlns:a16="http://schemas.microsoft.com/office/drawing/2014/main" id="{492E9525-9BF2-4C62-8709-360D4379339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0087" y="6336364"/>
            <a:ext cx="820409" cy="364626"/>
          </a:xfrm>
          <a:prstGeom prst="rect">
            <a:avLst/>
          </a:prstGeom>
        </p:spPr>
      </p:pic>
      <p:sp>
        <p:nvSpPr>
          <p:cNvPr id="5" name="Slide Number Placeholder 5">
            <a:extLst>
              <a:ext uri="{FF2B5EF4-FFF2-40B4-BE49-F238E27FC236}">
                <a16:creationId xmlns:a16="http://schemas.microsoft.com/office/drawing/2014/main" id="{BC92A3D1-ADFC-446B-97C7-364F73E8DFF2}"/>
              </a:ext>
            </a:extLst>
          </p:cNvPr>
          <p:cNvSpPr txBox="1">
            <a:spLocks/>
          </p:cNvSpPr>
          <p:nvPr userDrawn="1"/>
        </p:nvSpPr>
        <p:spPr>
          <a:xfrm>
            <a:off x="8763000" y="637222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85E193-80A3-DE43-A010-614AC67AB25A}" type="slidenum">
              <a:rPr lang="en-US" sz="1100" smtClean="0">
                <a:solidFill>
                  <a:schemeClr val="bg1"/>
                </a:solidFill>
                <a:latin typeface="Segoe UI" panose="020B0502040204020203" pitchFamily="34" charset="0"/>
                <a:cs typeface="Segoe UI" panose="020B0502040204020203" pitchFamily="34" charset="0"/>
              </a:rPr>
              <a:pPr/>
              <a:t>‹#›</a:t>
            </a:fld>
            <a:endParaRPr lang="en-US" sz="11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958806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C37E1-986A-26A4-7A5A-13B6EC7456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CD96155-FCAD-9FC2-33E3-BBB341289B5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7EF08C-F105-8E9D-21AE-070EE507A43D}"/>
              </a:ext>
            </a:extLst>
          </p:cNvPr>
          <p:cNvSpPr>
            <a:spLocks noGrp="1"/>
          </p:cNvSpPr>
          <p:nvPr>
            <p:ph type="dt" sz="half" idx="10"/>
          </p:nvPr>
        </p:nvSpPr>
        <p:spPr/>
        <p:txBody>
          <a:bodyPr/>
          <a:lstStyle/>
          <a:p>
            <a:fld id="{2AA0FA02-2387-9E48-B868-0B4649F87CFE}" type="datetimeFigureOut">
              <a:rPr lang="en-US" smtClean="0"/>
              <a:t>8/10/22</a:t>
            </a:fld>
            <a:endParaRPr lang="en-US"/>
          </a:p>
        </p:txBody>
      </p:sp>
      <p:sp>
        <p:nvSpPr>
          <p:cNvPr id="5" name="Footer Placeholder 4">
            <a:extLst>
              <a:ext uri="{FF2B5EF4-FFF2-40B4-BE49-F238E27FC236}">
                <a16:creationId xmlns:a16="http://schemas.microsoft.com/office/drawing/2014/main" id="{135E405F-BEA1-8B47-7C7A-58A56B191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48EF1D-0275-2EDA-B373-3E34D9699981}"/>
              </a:ext>
            </a:extLst>
          </p:cNvPr>
          <p:cNvSpPr>
            <a:spLocks noGrp="1"/>
          </p:cNvSpPr>
          <p:nvPr>
            <p:ph type="sldNum" sz="quarter" idx="12"/>
          </p:nvPr>
        </p:nvSpPr>
        <p:spPr/>
        <p:txBody>
          <a:bodyPr/>
          <a:lstStyle/>
          <a:p>
            <a:fld id="{E9EAAEDD-DDD9-934A-A227-E48A03534A10}" type="slidenum">
              <a:rPr lang="en-US" smtClean="0"/>
              <a:t>‹#›</a:t>
            </a:fld>
            <a:endParaRPr lang="en-US"/>
          </a:p>
        </p:txBody>
      </p:sp>
    </p:spTree>
    <p:extLst>
      <p:ext uri="{BB962C8B-B14F-4D97-AF65-F5344CB8AC3E}">
        <p14:creationId xmlns:p14="http://schemas.microsoft.com/office/powerpoint/2010/main" val="25966025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FB97DD1-3640-0046-80F8-A1698790D569}"/>
              </a:ext>
            </a:extLst>
          </p:cNvPr>
          <p:cNvSpPr>
            <a:spLocks noGrp="1"/>
          </p:cNvSpPr>
          <p:nvPr>
            <p:ph type="sldNum" sz="quarter" idx="12"/>
          </p:nvPr>
        </p:nvSpPr>
        <p:spPr/>
        <p:txBody>
          <a:bodyPr/>
          <a:lstStyle/>
          <a:p>
            <a:fld id="{4085E193-80A3-DE43-A010-614AC67AB25A}" type="slidenum">
              <a:rPr lang="en-US" smtClean="0"/>
              <a:t>‹#›</a:t>
            </a:fld>
            <a:endParaRPr lang="en-US"/>
          </a:p>
        </p:txBody>
      </p:sp>
      <p:sp>
        <p:nvSpPr>
          <p:cNvPr id="3" name="Rectangle 2">
            <a:extLst>
              <a:ext uri="{FF2B5EF4-FFF2-40B4-BE49-F238E27FC236}">
                <a16:creationId xmlns:a16="http://schemas.microsoft.com/office/drawing/2014/main" id="{75EC05D0-3592-402C-BE3B-AEDDB4C627B5}"/>
              </a:ext>
            </a:extLst>
          </p:cNvPr>
          <p:cNvSpPr/>
          <p:nvPr userDrawn="1"/>
        </p:nvSpPr>
        <p:spPr>
          <a:xfrm>
            <a:off x="1" y="6179354"/>
            <a:ext cx="12192000" cy="678647"/>
          </a:xfrm>
          <a:prstGeom prst="rect">
            <a:avLst/>
          </a:prstGeom>
          <a:solidFill>
            <a:srgbClr val="082567"/>
          </a:solidFill>
          <a:ln w="9525" cap="flat" cmpd="sng">
            <a:noFill/>
            <a:prstDash val="solid"/>
            <a:round/>
            <a:headEnd type="none" w="sm" len="sm"/>
            <a:tailEnd type="none" w="sm" len="sm"/>
          </a:ln>
        </p:spPr>
        <p:txBody>
          <a:bodyPr spcFirstLastPara="1" wrap="square" lIns="91425" tIns="91425" rIns="91425" bIns="91425" rtlCol="0" anchor="ctr" anchorCtr="0">
            <a:noAutofit/>
          </a:bodyPr>
          <a:lstStyle/>
          <a:p>
            <a:pPr marL="0" indent="0" algn="l" rtl="0">
              <a:spcBef>
                <a:spcPts val="0"/>
              </a:spcBef>
              <a:spcAft>
                <a:spcPts val="0"/>
              </a:spcAft>
              <a:buNone/>
            </a:pPr>
            <a:endParaRPr lang="en-US" dirty="0">
              <a:solidFill>
                <a:srgbClr val="3B4DA5"/>
              </a:solidFill>
              <a:latin typeface="Segoe UI" panose="020B0502040204020203" pitchFamily="34" charset="0"/>
            </a:endParaRPr>
          </a:p>
        </p:txBody>
      </p:sp>
      <p:pic>
        <p:nvPicPr>
          <p:cNvPr id="4" name="Picture 3">
            <a:extLst>
              <a:ext uri="{FF2B5EF4-FFF2-40B4-BE49-F238E27FC236}">
                <a16:creationId xmlns:a16="http://schemas.microsoft.com/office/drawing/2014/main" id="{B7C5EDDA-B5D8-43F8-85A0-40D1A772ED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0087" y="6336364"/>
            <a:ext cx="820409" cy="364626"/>
          </a:xfrm>
          <a:prstGeom prst="rect">
            <a:avLst/>
          </a:prstGeom>
        </p:spPr>
      </p:pic>
      <p:sp>
        <p:nvSpPr>
          <p:cNvPr id="5" name="Rectangle 4">
            <a:extLst>
              <a:ext uri="{FF2B5EF4-FFF2-40B4-BE49-F238E27FC236}">
                <a16:creationId xmlns:a16="http://schemas.microsoft.com/office/drawing/2014/main" id="{938E8475-8EF5-4030-AFBF-DC117C50FF09}"/>
              </a:ext>
            </a:extLst>
          </p:cNvPr>
          <p:cNvSpPr/>
          <p:nvPr userDrawn="1"/>
        </p:nvSpPr>
        <p:spPr>
          <a:xfrm>
            <a:off x="1" y="1"/>
            <a:ext cx="12192000" cy="60960"/>
          </a:xfrm>
          <a:prstGeom prst="rect">
            <a:avLst/>
          </a:prstGeom>
          <a:solidFill>
            <a:srgbClr val="082567"/>
          </a:solidFill>
          <a:ln w="9525" cap="flat" cmpd="sng">
            <a:noFill/>
            <a:prstDash val="solid"/>
            <a:round/>
            <a:headEnd type="none" w="sm" len="sm"/>
            <a:tailEnd type="none" w="sm" len="sm"/>
          </a:ln>
        </p:spPr>
        <p:txBody>
          <a:bodyPr spcFirstLastPara="1" wrap="square" lIns="91425" tIns="91425" rIns="91425" bIns="91425" rtlCol="0" anchor="ctr" anchorCtr="0">
            <a:noAutofit/>
          </a:bodyPr>
          <a:lstStyle/>
          <a:p>
            <a:pPr marL="0" indent="0" algn="l" rtl="0">
              <a:spcBef>
                <a:spcPts val="0"/>
              </a:spcBef>
              <a:spcAft>
                <a:spcPts val="0"/>
              </a:spcAft>
              <a:buNone/>
            </a:pPr>
            <a:endParaRPr lang="en-US" dirty="0">
              <a:solidFill>
                <a:srgbClr val="3B4DA5"/>
              </a:solidFill>
              <a:latin typeface="Segoe UI" panose="020B0502040204020203" pitchFamily="34" charset="0"/>
            </a:endParaRPr>
          </a:p>
        </p:txBody>
      </p:sp>
      <p:sp>
        <p:nvSpPr>
          <p:cNvPr id="7" name="Slide Number Placeholder 5">
            <a:extLst>
              <a:ext uri="{FF2B5EF4-FFF2-40B4-BE49-F238E27FC236}">
                <a16:creationId xmlns:a16="http://schemas.microsoft.com/office/drawing/2014/main" id="{E0923D60-F0D7-4D9C-AB4E-CD32BCD2AE03}"/>
              </a:ext>
            </a:extLst>
          </p:cNvPr>
          <p:cNvSpPr txBox="1">
            <a:spLocks/>
          </p:cNvSpPr>
          <p:nvPr userDrawn="1"/>
        </p:nvSpPr>
        <p:spPr>
          <a:xfrm>
            <a:off x="8763000" y="637222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85E193-80A3-DE43-A010-614AC67AB25A}" type="slidenum">
              <a:rPr lang="en-US" sz="1100" smtClean="0">
                <a:solidFill>
                  <a:schemeClr val="bg1"/>
                </a:solidFill>
                <a:latin typeface="Segoe UI" panose="020B0502040204020203" pitchFamily="34" charset="0"/>
                <a:cs typeface="Segoe UI" panose="020B0502040204020203" pitchFamily="34" charset="0"/>
              </a:rPr>
              <a:pPr/>
              <a:t>‹#›</a:t>
            </a:fld>
            <a:endParaRPr lang="en-US" sz="11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341840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Regula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8CF25891-423F-169C-5159-B580A9C1FB97}"/>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8" name="Rectangle 7">
            <a:extLst>
              <a:ext uri="{FF2B5EF4-FFF2-40B4-BE49-F238E27FC236}">
                <a16:creationId xmlns:a16="http://schemas.microsoft.com/office/drawing/2014/main" id="{887542D1-50D8-3DC4-CE7A-8BF93567C72F}"/>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7DD0A5B5-B05C-C938-ECD0-BC7F391BF66D}"/>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4A563FD0-76BE-9508-3FE9-94E3D0D492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Text Placeholder 3">
            <a:extLst>
              <a:ext uri="{FF2B5EF4-FFF2-40B4-BE49-F238E27FC236}">
                <a16:creationId xmlns:a16="http://schemas.microsoft.com/office/drawing/2014/main" id="{25BD77EB-C395-A8A3-EFBD-15C4AA33638A}"/>
              </a:ext>
            </a:extLst>
          </p:cNvPr>
          <p:cNvSpPr>
            <a:spLocks noGrp="1"/>
          </p:cNvSpPr>
          <p:nvPr>
            <p:ph type="body" sz="quarter" idx="10"/>
          </p:nvPr>
        </p:nvSpPr>
        <p:spPr>
          <a:xfrm>
            <a:off x="685800" y="1342095"/>
            <a:ext cx="10820399" cy="4514850"/>
          </a:xfrm>
          <a:prstGeom prst="rect">
            <a:avLst/>
          </a:prstGeom>
        </p:spPr>
        <p:txBody>
          <a:bodyPr/>
          <a:lstStyle>
            <a:lvl1pPr>
              <a:buClr>
                <a:srgbClr val="F26752"/>
              </a:buClr>
              <a:defRPr sz="2000">
                <a:solidFill>
                  <a:schemeClr val="bg2">
                    <a:lumMod val="10000"/>
                  </a:schemeClr>
                </a:solidFill>
              </a:defRPr>
            </a:lvl1pPr>
            <a:lvl2pPr marL="685800" indent="-228600">
              <a:buClr>
                <a:srgbClr val="F26752"/>
              </a:buClr>
              <a:buFont typeface="Courier New" panose="02070309020205020404" pitchFamily="49" charset="0"/>
              <a:buChar char="o"/>
              <a:defRPr sz="1800">
                <a:solidFill>
                  <a:schemeClr val="bg2">
                    <a:lumMod val="10000"/>
                  </a:schemeClr>
                </a:solidFill>
              </a:defRPr>
            </a:lvl2pPr>
            <a:lvl3pPr marL="1143000" indent="-228600">
              <a:buClr>
                <a:srgbClr val="F26752"/>
              </a:buClr>
              <a:buFont typeface="Segoe UI" panose="020B0502040204020203" pitchFamily="34" charset="0"/>
              <a:buChar cha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7" name="Title 1">
            <a:extLst>
              <a:ext uri="{FF2B5EF4-FFF2-40B4-BE49-F238E27FC236}">
                <a16:creationId xmlns:a16="http://schemas.microsoft.com/office/drawing/2014/main" id="{588B59E2-A9CF-A95F-6B43-985FB29ED443}"/>
              </a:ext>
            </a:extLst>
          </p:cNvPr>
          <p:cNvSpPr>
            <a:spLocks noGrp="1"/>
          </p:cNvSpPr>
          <p:nvPr>
            <p:ph type="title"/>
          </p:nvPr>
        </p:nvSpPr>
        <p:spPr>
          <a:xfrm>
            <a:off x="685800" y="544606"/>
            <a:ext cx="10515600" cy="665867"/>
          </a:xfrm>
        </p:spPr>
        <p:txBody>
          <a:bodyPr>
            <a:normAutofit/>
          </a:bodyPr>
          <a:lstStyle>
            <a:lvl1pPr>
              <a:defRPr sz="3200" b="1">
                <a:latin typeface="Segoe UI" panose="020B0502040204020203" pitchFamily="34" charset="0"/>
                <a:cs typeface="Segoe UI" panose="020B0502040204020203" pitchFamily="34" charset="0"/>
              </a:defRPr>
            </a:lvl1pPr>
          </a:lstStyle>
          <a:p>
            <a:r>
              <a:rPr lang="en-US" dirty="0"/>
              <a:t>Click to edit Master title style</a:t>
            </a:r>
            <a:endParaRPr lang="en-IN" dirty="0"/>
          </a:p>
        </p:txBody>
      </p:sp>
      <p:sp>
        <p:nvSpPr>
          <p:cNvPr id="9" name="Rectangle 8">
            <a:extLst>
              <a:ext uri="{FF2B5EF4-FFF2-40B4-BE49-F238E27FC236}">
                <a16:creationId xmlns:a16="http://schemas.microsoft.com/office/drawing/2014/main" id="{344ADB12-A11A-41AB-0AEC-4A91FB2F6A51}"/>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29145698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ntent (Regula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8CF25891-423F-169C-5159-B580A9C1FB97}"/>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8" name="Rectangle 7">
            <a:extLst>
              <a:ext uri="{FF2B5EF4-FFF2-40B4-BE49-F238E27FC236}">
                <a16:creationId xmlns:a16="http://schemas.microsoft.com/office/drawing/2014/main" id="{887542D1-50D8-3DC4-CE7A-8BF93567C72F}"/>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7DD0A5B5-B05C-C938-ECD0-BC7F391BF66D}"/>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4A563FD0-76BE-9508-3FE9-94E3D0D492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Text Placeholder 3">
            <a:extLst>
              <a:ext uri="{FF2B5EF4-FFF2-40B4-BE49-F238E27FC236}">
                <a16:creationId xmlns:a16="http://schemas.microsoft.com/office/drawing/2014/main" id="{25BD77EB-C395-A8A3-EFBD-15C4AA33638A}"/>
              </a:ext>
            </a:extLst>
          </p:cNvPr>
          <p:cNvSpPr>
            <a:spLocks noGrp="1"/>
          </p:cNvSpPr>
          <p:nvPr>
            <p:ph type="body" sz="quarter" idx="10"/>
          </p:nvPr>
        </p:nvSpPr>
        <p:spPr>
          <a:xfrm>
            <a:off x="685801" y="1342095"/>
            <a:ext cx="5181600" cy="4514850"/>
          </a:xfrm>
          <a:prstGeom prst="rect">
            <a:avLst/>
          </a:prstGeom>
        </p:spPr>
        <p:txBody>
          <a:bodyPr/>
          <a:lstStyle>
            <a:lvl1pPr>
              <a:buClr>
                <a:srgbClr val="F26752"/>
              </a:buClr>
              <a:defRPr sz="2000">
                <a:solidFill>
                  <a:schemeClr val="bg2">
                    <a:lumMod val="10000"/>
                  </a:schemeClr>
                </a:solidFill>
              </a:defRPr>
            </a:lvl1pPr>
            <a:lvl2pPr marL="685800" indent="-228600">
              <a:buClr>
                <a:srgbClr val="F26752"/>
              </a:buClr>
              <a:buFont typeface="Courier New" panose="02070309020205020404" pitchFamily="49" charset="0"/>
              <a:buChar char="o"/>
              <a:defRPr sz="1800">
                <a:solidFill>
                  <a:schemeClr val="bg2">
                    <a:lumMod val="10000"/>
                  </a:schemeClr>
                </a:solidFill>
              </a:defRPr>
            </a:lvl2pPr>
            <a:lvl3pPr marL="1143000" indent="-228600">
              <a:buClr>
                <a:srgbClr val="F26752"/>
              </a:buClr>
              <a:buFont typeface="Segoe UI" panose="020B0502040204020203" pitchFamily="34" charset="0"/>
              <a:buChar cha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7" name="Title 1">
            <a:extLst>
              <a:ext uri="{FF2B5EF4-FFF2-40B4-BE49-F238E27FC236}">
                <a16:creationId xmlns:a16="http://schemas.microsoft.com/office/drawing/2014/main" id="{588B59E2-A9CF-A95F-6B43-985FB29ED443}"/>
              </a:ext>
            </a:extLst>
          </p:cNvPr>
          <p:cNvSpPr>
            <a:spLocks noGrp="1"/>
          </p:cNvSpPr>
          <p:nvPr>
            <p:ph type="title"/>
          </p:nvPr>
        </p:nvSpPr>
        <p:spPr>
          <a:xfrm>
            <a:off x="685800" y="544606"/>
            <a:ext cx="10820400" cy="665867"/>
          </a:xfrm>
        </p:spPr>
        <p:txBody>
          <a:bodyPr>
            <a:normAutofit/>
          </a:bodyPr>
          <a:lstStyle>
            <a:lvl1pPr>
              <a:defRPr sz="3200" b="1">
                <a:latin typeface="Segoe UI" panose="020B0502040204020203" pitchFamily="34" charset="0"/>
                <a:cs typeface="Segoe UI" panose="020B0502040204020203" pitchFamily="34" charset="0"/>
              </a:defRPr>
            </a:lvl1pPr>
          </a:lstStyle>
          <a:p>
            <a:r>
              <a:rPr lang="en-US" dirty="0"/>
              <a:t>Click to edit Master title style</a:t>
            </a:r>
            <a:endParaRPr lang="en-IN" dirty="0"/>
          </a:p>
        </p:txBody>
      </p:sp>
      <p:sp>
        <p:nvSpPr>
          <p:cNvPr id="18" name="Text Placeholder 3">
            <a:extLst>
              <a:ext uri="{FF2B5EF4-FFF2-40B4-BE49-F238E27FC236}">
                <a16:creationId xmlns:a16="http://schemas.microsoft.com/office/drawing/2014/main" id="{C16BDD85-2670-C834-1570-685BFA331152}"/>
              </a:ext>
            </a:extLst>
          </p:cNvPr>
          <p:cNvSpPr>
            <a:spLocks noGrp="1"/>
          </p:cNvSpPr>
          <p:nvPr>
            <p:ph type="body" sz="quarter" idx="13"/>
          </p:nvPr>
        </p:nvSpPr>
        <p:spPr>
          <a:xfrm>
            <a:off x="6333898" y="1342095"/>
            <a:ext cx="5181600" cy="4514850"/>
          </a:xfrm>
          <a:prstGeom prst="rect">
            <a:avLst/>
          </a:prstGeom>
        </p:spPr>
        <p:txBody>
          <a:bodyPr/>
          <a:lstStyle>
            <a:lvl1pPr>
              <a:buClr>
                <a:srgbClr val="F26752"/>
              </a:buClr>
              <a:defRPr sz="2000">
                <a:solidFill>
                  <a:schemeClr val="bg2">
                    <a:lumMod val="10000"/>
                  </a:schemeClr>
                </a:solidFill>
              </a:defRPr>
            </a:lvl1pPr>
            <a:lvl2pPr marL="685800" indent="-228600">
              <a:buClr>
                <a:srgbClr val="F26752"/>
              </a:buClr>
              <a:buFont typeface="Courier New" panose="02070309020205020404" pitchFamily="49" charset="0"/>
              <a:buChar char="o"/>
              <a:defRPr sz="1800">
                <a:solidFill>
                  <a:schemeClr val="bg2">
                    <a:lumMod val="10000"/>
                  </a:schemeClr>
                </a:solidFill>
              </a:defRPr>
            </a:lvl2pPr>
            <a:lvl3pPr marL="1143000" indent="-228600">
              <a:buClr>
                <a:srgbClr val="F26752"/>
              </a:buClr>
              <a:buFont typeface="Segoe UI" panose="020B0502040204020203" pitchFamily="34" charset="0"/>
              <a:buChar cha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0" name="Rectangle 9">
            <a:extLst>
              <a:ext uri="{FF2B5EF4-FFF2-40B4-BE49-F238E27FC236}">
                <a16:creationId xmlns:a16="http://schemas.microsoft.com/office/drawing/2014/main" id="{88631FF9-7597-5BEB-3455-F9BEE70D9683}"/>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7474425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lide Break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1"/>
            <a:ext cx="6862764"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2" name="Title 1"/>
          <p:cNvSpPr>
            <a:spLocks noGrp="1"/>
          </p:cNvSpPr>
          <p:nvPr>
            <p:ph type="title" hasCustomPrompt="1"/>
          </p:nvPr>
        </p:nvSpPr>
        <p:spPr>
          <a:xfrm>
            <a:off x="766763" y="2443503"/>
            <a:ext cx="5329237" cy="989595"/>
          </a:xfrm>
          <a:prstGeom prst="rect">
            <a:avLst/>
          </a:prstGeom>
        </p:spPr>
        <p:txBody>
          <a:bodyPr lIns="0" anchor="ctr"/>
          <a:lstStyle>
            <a:lvl1pPr algn="l">
              <a:defRPr>
                <a:solidFill>
                  <a:srgbClr val="FFFFFF"/>
                </a:solidFill>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6862764" y="-2"/>
            <a:ext cx="5329236" cy="685800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cxnSp>
        <p:nvCxnSpPr>
          <p:cNvPr id="4" name="Straight Connector 3">
            <a:extLst>
              <a:ext uri="{FF2B5EF4-FFF2-40B4-BE49-F238E27FC236}">
                <a16:creationId xmlns:a16="http://schemas.microsoft.com/office/drawing/2014/main" id="{9252261D-42C0-939A-0448-368AF65D2809}"/>
              </a:ext>
            </a:extLst>
          </p:cNvPr>
          <p:cNvCxnSpPr>
            <a:cxnSpLocks/>
          </p:cNvCxnSpPr>
          <p:nvPr userDrawn="1"/>
        </p:nvCxnSpPr>
        <p:spPr>
          <a:xfrm>
            <a:off x="749508" y="3957403"/>
            <a:ext cx="4721902"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06390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s &amp;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0DE3B3E-C31A-D638-D92C-06CBA029A8F7}"/>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3" name="Title 1">
            <a:extLst>
              <a:ext uri="{FF2B5EF4-FFF2-40B4-BE49-F238E27FC236}">
                <a16:creationId xmlns:a16="http://schemas.microsoft.com/office/drawing/2014/main" id="{EBDCBAC3-28EB-D613-31A5-5EB789EC099E}"/>
              </a:ext>
            </a:extLst>
          </p:cNvPr>
          <p:cNvSpPr>
            <a:spLocks noGrp="1"/>
          </p:cNvSpPr>
          <p:nvPr>
            <p:ph type="title" hasCustomPrompt="1"/>
          </p:nvPr>
        </p:nvSpPr>
        <p:spPr>
          <a:xfrm>
            <a:off x="690563" y="2705876"/>
            <a:ext cx="10815637" cy="1036260"/>
          </a:xfrm>
          <a:prstGeom prst="rect">
            <a:avLst/>
          </a:prstGeom>
        </p:spPr>
        <p:txBody>
          <a:bodyPr lIns="0" anchor="t">
            <a:normAutofit/>
          </a:bodyPr>
          <a:lstStyle>
            <a:lvl1pPr algn="l">
              <a:defRPr sz="3200">
                <a:solidFill>
                  <a:srgbClr val="082567"/>
                </a:solidFill>
              </a:defRPr>
            </a:lvl1pPr>
          </a:lstStyle>
          <a:p>
            <a:r>
              <a:rPr lang="en-GB" dirty="0"/>
              <a:t>Click to add text</a:t>
            </a:r>
            <a:endParaRPr lang="en-US" dirty="0"/>
          </a:p>
        </p:txBody>
      </p:sp>
      <p:sp>
        <p:nvSpPr>
          <p:cNvPr id="14" name="Picture Placeholder 17">
            <a:extLst>
              <a:ext uri="{FF2B5EF4-FFF2-40B4-BE49-F238E27FC236}">
                <a16:creationId xmlns:a16="http://schemas.microsoft.com/office/drawing/2014/main" id="{F0506D6A-4BC0-771C-700A-DE8335A60C5E}"/>
              </a:ext>
            </a:extLst>
          </p:cNvPr>
          <p:cNvSpPr>
            <a:spLocks noGrp="1"/>
          </p:cNvSpPr>
          <p:nvPr>
            <p:ph type="pic" sz="quarter" idx="10"/>
          </p:nvPr>
        </p:nvSpPr>
        <p:spPr>
          <a:xfrm>
            <a:off x="0" y="-1"/>
            <a:ext cx="12192000" cy="2705877"/>
          </a:xfrm>
          <a:prstGeom prst="rect">
            <a:avLst/>
          </a:prstGeom>
        </p:spPr>
        <p:txBody>
          <a:bodyPr anchor="ctr"/>
          <a:lstStyle>
            <a:lvl1pPr marL="0" indent="0" algn="ctr">
              <a:buNone/>
              <a:defRPr/>
            </a:lvl1pPr>
          </a:lstStyle>
          <a:p>
            <a:endParaRPr lang="en-US"/>
          </a:p>
        </p:txBody>
      </p:sp>
      <p:sp>
        <p:nvSpPr>
          <p:cNvPr id="15" name="Slide Number Placeholder 5">
            <a:extLst>
              <a:ext uri="{FF2B5EF4-FFF2-40B4-BE49-F238E27FC236}">
                <a16:creationId xmlns:a16="http://schemas.microsoft.com/office/drawing/2014/main" id="{3E4D3432-65EB-758B-EE02-B863E0D68228}"/>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solidFill>
                  <a:srgbClr val="FFFFFF"/>
                </a:solidFill>
              </a:rPr>
              <a:pPr/>
              <a:t>‹#›</a:t>
            </a:fld>
            <a:endParaRPr lang="en-US" sz="1000" dirty="0">
              <a:solidFill>
                <a:srgbClr val="FFFFFF"/>
              </a:solidFill>
            </a:endParaRPr>
          </a:p>
        </p:txBody>
      </p:sp>
      <p:pic>
        <p:nvPicPr>
          <p:cNvPr id="16" name="Picture 15">
            <a:extLst>
              <a:ext uri="{FF2B5EF4-FFF2-40B4-BE49-F238E27FC236}">
                <a16:creationId xmlns:a16="http://schemas.microsoft.com/office/drawing/2014/main" id="{FAD658BB-D73A-F9BF-70E2-5CBB97C07CB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7" name="Text Placeholder 3">
            <a:extLst>
              <a:ext uri="{FF2B5EF4-FFF2-40B4-BE49-F238E27FC236}">
                <a16:creationId xmlns:a16="http://schemas.microsoft.com/office/drawing/2014/main" id="{7AA2DA76-6461-DCF5-4BBE-71674C2AFA11}"/>
              </a:ext>
            </a:extLst>
          </p:cNvPr>
          <p:cNvSpPr>
            <a:spLocks noGrp="1"/>
          </p:cNvSpPr>
          <p:nvPr>
            <p:ph type="body" sz="quarter" idx="11"/>
          </p:nvPr>
        </p:nvSpPr>
        <p:spPr>
          <a:xfrm>
            <a:off x="690563" y="3742137"/>
            <a:ext cx="10815637" cy="2114808"/>
          </a:xfrm>
          <a:prstGeom prst="rect">
            <a:avLst/>
          </a:prstGeom>
        </p:spPr>
        <p:txBody>
          <a:bodyPr/>
          <a:lstStyle>
            <a:lvl1pPr>
              <a:buClr>
                <a:srgbClr val="F26752"/>
              </a:buClr>
              <a:defRPr sz="2000">
                <a:solidFill>
                  <a:schemeClr val="bg2">
                    <a:lumMod val="10000"/>
                  </a:schemeClr>
                </a:solidFill>
              </a:defRPr>
            </a:lvl1pPr>
            <a:lvl2pPr>
              <a:buClr>
                <a:srgbClr val="F26752"/>
              </a:buClr>
              <a:defRPr sz="1800">
                <a:solidFill>
                  <a:schemeClr val="bg2">
                    <a:lumMod val="10000"/>
                  </a:schemeClr>
                </a:solidFill>
              </a:defRPr>
            </a:lvl2pPr>
            <a:lvl3pPr>
              <a:buClr>
                <a:srgbClr val="F26752"/>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3760953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BE9B-5A60-450D-F641-B0127C7085D2}"/>
              </a:ext>
            </a:extLst>
          </p:cNvPr>
          <p:cNvSpPr>
            <a:spLocks noGrp="1"/>
          </p:cNvSpPr>
          <p:nvPr>
            <p:ph type="title"/>
          </p:nvPr>
        </p:nvSpPr>
        <p:spPr/>
        <p:txBody>
          <a:bodyPr/>
          <a:lstStyle/>
          <a:p>
            <a:r>
              <a:rPr lang="en-US"/>
              <a:t>Click to edit Master title style</a:t>
            </a:r>
            <a:endParaRPr lang="en-IN"/>
          </a:p>
        </p:txBody>
      </p:sp>
      <p:sp>
        <p:nvSpPr>
          <p:cNvPr id="3" name="Text Placeholder 3">
            <a:extLst>
              <a:ext uri="{FF2B5EF4-FFF2-40B4-BE49-F238E27FC236}">
                <a16:creationId xmlns:a16="http://schemas.microsoft.com/office/drawing/2014/main" id="{969D71AC-F73B-79AD-B852-19EBA16788BA}"/>
              </a:ext>
            </a:extLst>
          </p:cNvPr>
          <p:cNvSpPr>
            <a:spLocks noGrp="1"/>
          </p:cNvSpPr>
          <p:nvPr>
            <p:ph type="body" sz="quarter" idx="10"/>
          </p:nvPr>
        </p:nvSpPr>
        <p:spPr>
          <a:xfrm>
            <a:off x="685801" y="1790503"/>
            <a:ext cx="5410200" cy="4514850"/>
          </a:xfrm>
          <a:prstGeom prst="rect">
            <a:avLst/>
          </a:prstGeom>
        </p:spPr>
        <p:txBody>
          <a:bodyPr/>
          <a:lstStyle>
            <a:lvl1pPr>
              <a:buClr>
                <a:srgbClr val="F26752"/>
              </a:buClr>
              <a:defRPr sz="2000">
                <a:solidFill>
                  <a:schemeClr val="bg2">
                    <a:lumMod val="10000"/>
                  </a:schemeClr>
                </a:solidFill>
              </a:defRPr>
            </a:lvl1pPr>
            <a:lvl2pPr marL="685800" indent="-228600">
              <a:buClr>
                <a:srgbClr val="F26752"/>
              </a:buClr>
              <a:buFont typeface="Courier New" panose="02070309020205020404" pitchFamily="49" charset="0"/>
              <a:buChar char="o"/>
              <a:defRPr sz="1800">
                <a:solidFill>
                  <a:schemeClr val="bg2">
                    <a:lumMod val="10000"/>
                  </a:schemeClr>
                </a:solidFill>
              </a:defRPr>
            </a:lvl2pPr>
            <a:lvl3pPr marL="1143000" indent="-228600">
              <a:buClr>
                <a:srgbClr val="F26752"/>
              </a:buClr>
              <a:buFont typeface="Segoe UI" panose="020B0502040204020203" pitchFamily="34" charset="0"/>
              <a:buChar cha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5" name="Picture Placeholder 4">
            <a:extLst>
              <a:ext uri="{FF2B5EF4-FFF2-40B4-BE49-F238E27FC236}">
                <a16:creationId xmlns:a16="http://schemas.microsoft.com/office/drawing/2014/main" id="{3FA9D426-F84D-53FF-B966-599BCC7E89E8}"/>
              </a:ext>
            </a:extLst>
          </p:cNvPr>
          <p:cNvSpPr>
            <a:spLocks noGrp="1"/>
          </p:cNvSpPr>
          <p:nvPr>
            <p:ph type="pic" sz="quarter" idx="11"/>
          </p:nvPr>
        </p:nvSpPr>
        <p:spPr>
          <a:xfrm>
            <a:off x="6324600" y="1759260"/>
            <a:ext cx="5867400" cy="4546093"/>
          </a:xfrm>
        </p:spPr>
        <p:txBody>
          <a:bodyPr/>
          <a:lstStyle/>
          <a:p>
            <a:endParaRPr lang="en-IN"/>
          </a:p>
        </p:txBody>
      </p:sp>
      <p:sp>
        <p:nvSpPr>
          <p:cNvPr id="6" name="Rectangle 5">
            <a:extLst>
              <a:ext uri="{FF2B5EF4-FFF2-40B4-BE49-F238E27FC236}">
                <a16:creationId xmlns:a16="http://schemas.microsoft.com/office/drawing/2014/main" id="{92EF502C-15D7-4029-6109-18ECE45D55CF}"/>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931AB0E0-4719-80E5-F1CA-72C701378CA7}"/>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8" name="Picture 7">
            <a:extLst>
              <a:ext uri="{FF2B5EF4-FFF2-40B4-BE49-F238E27FC236}">
                <a16:creationId xmlns:a16="http://schemas.microsoft.com/office/drawing/2014/main" id="{C18E3342-438E-8735-B01C-5324811CF53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9" name="Rectangle 8">
            <a:extLst>
              <a:ext uri="{FF2B5EF4-FFF2-40B4-BE49-F238E27FC236}">
                <a16:creationId xmlns:a16="http://schemas.microsoft.com/office/drawing/2014/main" id="{FA66F500-6C80-8247-43AF-9797F56E088D}"/>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34691220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80955-0FD4-6B3F-7845-0CE1CA1E696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C9348289-C2F4-8129-AFAC-3FFAC0C81484}"/>
              </a:ext>
            </a:extLst>
          </p:cNvPr>
          <p:cNvSpPr>
            <a:spLocks noGrp="1"/>
          </p:cNvSpPr>
          <p:nvPr>
            <p:ph type="body" idx="1"/>
          </p:nvPr>
        </p:nvSpPr>
        <p:spPr>
          <a:xfrm>
            <a:off x="831850" y="4589463"/>
            <a:ext cx="10515600" cy="1500187"/>
          </a:xfrm>
        </p:spPr>
        <p:txBody>
          <a:bodyPr/>
          <a:lstStyle>
            <a:lvl1pPr marL="0" indent="0">
              <a:buNone/>
              <a:defRPr sz="2400">
                <a:solidFill>
                  <a:srgbClr val="FF505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0" name="Slide Number Placeholder 5">
            <a:extLst>
              <a:ext uri="{FF2B5EF4-FFF2-40B4-BE49-F238E27FC236}">
                <a16:creationId xmlns:a16="http://schemas.microsoft.com/office/drawing/2014/main" id="{4A672FCA-0531-0BB2-591F-7CE545146885}"/>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11" name="Rectangle 10">
            <a:extLst>
              <a:ext uri="{FF2B5EF4-FFF2-40B4-BE49-F238E27FC236}">
                <a16:creationId xmlns:a16="http://schemas.microsoft.com/office/drawing/2014/main" id="{46021B8F-8834-95FB-3783-E5746195E5E7}"/>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5A0E482-80BE-4201-C8D1-3D7236FF3E24}"/>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80FE250F-B62A-EFFE-9711-F0BF1C325E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9" name="Rectangle 8">
            <a:extLst>
              <a:ext uri="{FF2B5EF4-FFF2-40B4-BE49-F238E27FC236}">
                <a16:creationId xmlns:a16="http://schemas.microsoft.com/office/drawing/2014/main" id="{F05C28A2-5CA7-037A-3615-DC9D5668C527}"/>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32652305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273AC-3149-6A24-5A16-916C53945FE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DEBCA27-1ECF-9220-F765-95AFBB2EEAA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7D153DC1-8F3F-D793-E7DF-505911192F9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Slide Number Placeholder 5">
            <a:extLst>
              <a:ext uri="{FF2B5EF4-FFF2-40B4-BE49-F238E27FC236}">
                <a16:creationId xmlns:a16="http://schemas.microsoft.com/office/drawing/2014/main" id="{9C3A4D07-0618-32E4-6920-33A2772E9244}"/>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12" name="Rectangle 11">
            <a:extLst>
              <a:ext uri="{FF2B5EF4-FFF2-40B4-BE49-F238E27FC236}">
                <a16:creationId xmlns:a16="http://schemas.microsoft.com/office/drawing/2014/main" id="{CB81B172-329E-3B19-1A33-A3CE198CF229}"/>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3" name="Slide Number Placeholder 5">
            <a:extLst>
              <a:ext uri="{FF2B5EF4-FFF2-40B4-BE49-F238E27FC236}">
                <a16:creationId xmlns:a16="http://schemas.microsoft.com/office/drawing/2014/main" id="{D4FFD592-ACE4-5689-62F8-E3220FC65543}"/>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4" name="Picture 13">
            <a:extLst>
              <a:ext uri="{FF2B5EF4-FFF2-40B4-BE49-F238E27FC236}">
                <a16:creationId xmlns:a16="http://schemas.microsoft.com/office/drawing/2014/main" id="{B41B0CC9-F8BA-7D1B-2535-B00714EE2E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0" name="Rectangle 9">
            <a:extLst>
              <a:ext uri="{FF2B5EF4-FFF2-40B4-BE49-F238E27FC236}">
                <a16:creationId xmlns:a16="http://schemas.microsoft.com/office/drawing/2014/main" id="{0E999EB7-ADD5-07EC-ABFD-E1FC8E6AF36C}"/>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22898672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B451-89CB-48EB-19E0-FC4B0AA36A58}"/>
              </a:ext>
            </a:extLst>
          </p:cNvPr>
          <p:cNvSpPr>
            <a:spLocks noGrp="1"/>
          </p:cNvSpPr>
          <p:nvPr>
            <p:ph type="title"/>
          </p:nvPr>
        </p:nvSpPr>
        <p:spPr>
          <a:xfrm>
            <a:off x="685800" y="365125"/>
            <a:ext cx="10820400" cy="1325563"/>
          </a:xfrm>
        </p:spPr>
        <p:txBody>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7192B05-6716-3323-44ED-CA042C0F8427}"/>
              </a:ext>
            </a:extLst>
          </p:cNvPr>
          <p:cNvSpPr>
            <a:spLocks noGrp="1"/>
          </p:cNvSpPr>
          <p:nvPr>
            <p:ph type="body" idx="1"/>
          </p:nvPr>
        </p:nvSpPr>
        <p:spPr>
          <a:xfrm>
            <a:off x="685800" y="1681163"/>
            <a:ext cx="531177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EC71F01-F49A-FDFE-042D-C9D479596626}"/>
              </a:ext>
            </a:extLst>
          </p:cNvPr>
          <p:cNvSpPr>
            <a:spLocks noGrp="1"/>
          </p:cNvSpPr>
          <p:nvPr>
            <p:ph sz="half" idx="2"/>
          </p:nvPr>
        </p:nvSpPr>
        <p:spPr>
          <a:xfrm>
            <a:off x="685800" y="2505075"/>
            <a:ext cx="531177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2D567B9F-2B6B-DAFE-873A-7E074A8D1930}"/>
              </a:ext>
            </a:extLst>
          </p:cNvPr>
          <p:cNvSpPr>
            <a:spLocks noGrp="1"/>
          </p:cNvSpPr>
          <p:nvPr>
            <p:ph type="body" sz="quarter" idx="3"/>
          </p:nvPr>
        </p:nvSpPr>
        <p:spPr>
          <a:xfrm>
            <a:off x="6172200" y="1681163"/>
            <a:ext cx="5334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1964214-BCD5-C1DE-F8F8-917908A23E23}"/>
              </a:ext>
            </a:extLst>
          </p:cNvPr>
          <p:cNvSpPr>
            <a:spLocks noGrp="1"/>
          </p:cNvSpPr>
          <p:nvPr>
            <p:ph sz="quarter" idx="4"/>
          </p:nvPr>
        </p:nvSpPr>
        <p:spPr>
          <a:xfrm>
            <a:off x="6172200" y="2505075"/>
            <a:ext cx="53340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Slide Number Placeholder 5">
            <a:extLst>
              <a:ext uri="{FF2B5EF4-FFF2-40B4-BE49-F238E27FC236}">
                <a16:creationId xmlns:a16="http://schemas.microsoft.com/office/drawing/2014/main" id="{8757416B-3FD0-F388-DD5A-7AB6611D6539}"/>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11" name="Rectangle 10">
            <a:extLst>
              <a:ext uri="{FF2B5EF4-FFF2-40B4-BE49-F238E27FC236}">
                <a16:creationId xmlns:a16="http://schemas.microsoft.com/office/drawing/2014/main" id="{FF7A2728-ECE6-56AB-2AC0-9700D722091B}"/>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6245F6F6-B059-2AA4-49FA-067562CF4E61}"/>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1F47BA04-8107-4A1F-9950-B7AAC3B5F9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4" name="Rectangle 13">
            <a:extLst>
              <a:ext uri="{FF2B5EF4-FFF2-40B4-BE49-F238E27FC236}">
                <a16:creationId xmlns:a16="http://schemas.microsoft.com/office/drawing/2014/main" id="{32535848-1015-0F16-260A-D3F7F27FA9A5}"/>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427958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F460B-0BA3-2BE7-AE3B-B2E944AA7213}"/>
              </a:ext>
            </a:extLst>
          </p:cNvPr>
          <p:cNvSpPr>
            <a:spLocks noGrp="1"/>
          </p:cNvSpPr>
          <p:nvPr>
            <p:ph type="title"/>
          </p:nvPr>
        </p:nvSpPr>
        <p:spPr/>
        <p:txBody>
          <a:bodyPr/>
          <a:lstStyle/>
          <a:p>
            <a:r>
              <a:rPr lang="en-US"/>
              <a:t>Click to edit Master title style</a:t>
            </a:r>
            <a:endParaRPr lang="en-IN"/>
          </a:p>
        </p:txBody>
      </p:sp>
      <p:sp>
        <p:nvSpPr>
          <p:cNvPr id="6" name="Slide Number Placeholder 5">
            <a:extLst>
              <a:ext uri="{FF2B5EF4-FFF2-40B4-BE49-F238E27FC236}">
                <a16:creationId xmlns:a16="http://schemas.microsoft.com/office/drawing/2014/main" id="{03C9BE19-5BD9-C708-596D-02EE9F3DD882}"/>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7" name="Rectangle 6">
            <a:extLst>
              <a:ext uri="{FF2B5EF4-FFF2-40B4-BE49-F238E27FC236}">
                <a16:creationId xmlns:a16="http://schemas.microsoft.com/office/drawing/2014/main" id="{CD6C431C-15EC-AC61-01B6-80E0A6C77EA7}"/>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8" name="Slide Number Placeholder 5">
            <a:extLst>
              <a:ext uri="{FF2B5EF4-FFF2-40B4-BE49-F238E27FC236}">
                <a16:creationId xmlns:a16="http://schemas.microsoft.com/office/drawing/2014/main" id="{A6E2B88A-643E-4C5D-78CC-E8776027FB16}"/>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9" name="Picture 8">
            <a:extLst>
              <a:ext uri="{FF2B5EF4-FFF2-40B4-BE49-F238E27FC236}">
                <a16:creationId xmlns:a16="http://schemas.microsoft.com/office/drawing/2014/main" id="{1B0C15E2-F244-4715-EDEB-331F501C008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0" name="Rectangle 9">
            <a:extLst>
              <a:ext uri="{FF2B5EF4-FFF2-40B4-BE49-F238E27FC236}">
                <a16:creationId xmlns:a16="http://schemas.microsoft.com/office/drawing/2014/main" id="{F69AAD22-02D4-693D-7A2B-A828445F5F94}"/>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36756177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Slide-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046A94C-C0A5-5502-0454-D13448424DC1}"/>
              </a:ext>
            </a:extLst>
          </p:cNvPr>
          <p:cNvSpPr/>
          <p:nvPr userDrawn="1"/>
        </p:nvSpPr>
        <p:spPr>
          <a:xfrm>
            <a:off x="0" y="0"/>
            <a:ext cx="6984124" cy="4945579"/>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5" name="Picture Placeholder 5">
            <a:extLst>
              <a:ext uri="{FF2B5EF4-FFF2-40B4-BE49-F238E27FC236}">
                <a16:creationId xmlns:a16="http://schemas.microsoft.com/office/drawing/2014/main" id="{1E82E8A5-E63A-38C5-9557-596B6CE45097}"/>
              </a:ext>
            </a:extLst>
          </p:cNvPr>
          <p:cNvSpPr>
            <a:spLocks noGrp="1"/>
          </p:cNvSpPr>
          <p:nvPr>
            <p:ph type="pic" sz="quarter" idx="10"/>
          </p:nvPr>
        </p:nvSpPr>
        <p:spPr>
          <a:xfrm>
            <a:off x="6984124" y="0"/>
            <a:ext cx="5207876" cy="6858000"/>
          </a:xfrm>
        </p:spPr>
        <p:txBody>
          <a:bodyPr anchor="ctr"/>
          <a:lstStyle>
            <a:lvl1pPr marL="0" indent="0" algn="ctr">
              <a:buNone/>
              <a:defRPr/>
            </a:lvl1pPr>
          </a:lstStyle>
          <a:p>
            <a:endParaRPr lang="en-IN" dirty="0"/>
          </a:p>
        </p:txBody>
      </p:sp>
      <p:sp>
        <p:nvSpPr>
          <p:cNvPr id="28" name="Title 1">
            <a:extLst>
              <a:ext uri="{FF2B5EF4-FFF2-40B4-BE49-F238E27FC236}">
                <a16:creationId xmlns:a16="http://schemas.microsoft.com/office/drawing/2014/main" id="{1A336F8E-CEBA-2BA1-BC8F-7FB6EB2836A5}"/>
              </a:ext>
            </a:extLst>
          </p:cNvPr>
          <p:cNvSpPr>
            <a:spLocks noGrp="1"/>
          </p:cNvSpPr>
          <p:nvPr>
            <p:ph type="title"/>
          </p:nvPr>
        </p:nvSpPr>
        <p:spPr>
          <a:xfrm>
            <a:off x="685800" y="1685207"/>
            <a:ext cx="5638800" cy="1304497"/>
          </a:xfrm>
        </p:spPr>
        <p:txBody>
          <a:bodyPr anchor="ctr">
            <a:noAutofit/>
          </a:bodyPr>
          <a:lstStyle>
            <a:lvl1pPr algn="l">
              <a:defRPr sz="3600">
                <a:solidFill>
                  <a:schemeClr val="bg1"/>
                </a:solidFill>
              </a:defRPr>
            </a:lvl1pPr>
          </a:lstStyle>
          <a:p>
            <a:r>
              <a:rPr lang="en-US" dirty="0"/>
              <a:t>Click to edit Master title style</a:t>
            </a:r>
            <a:endParaRPr lang="en-IN" dirty="0"/>
          </a:p>
        </p:txBody>
      </p:sp>
      <p:sp>
        <p:nvSpPr>
          <p:cNvPr id="29" name="Text Placeholder 2">
            <a:extLst>
              <a:ext uri="{FF2B5EF4-FFF2-40B4-BE49-F238E27FC236}">
                <a16:creationId xmlns:a16="http://schemas.microsoft.com/office/drawing/2014/main" id="{8611C90E-6FFA-E337-46BC-3E6E99DF5404}"/>
              </a:ext>
            </a:extLst>
          </p:cNvPr>
          <p:cNvSpPr>
            <a:spLocks noGrp="1"/>
          </p:cNvSpPr>
          <p:nvPr>
            <p:ph type="body" idx="1"/>
          </p:nvPr>
        </p:nvSpPr>
        <p:spPr>
          <a:xfrm>
            <a:off x="685800" y="3200400"/>
            <a:ext cx="6110656" cy="541337"/>
          </a:xfrm>
        </p:spPr>
        <p:txBody>
          <a:bodyPr tIns="0" rIns="0" bIns="0" anchor="t">
            <a:normAutofit/>
          </a:bodyPr>
          <a:lstStyle>
            <a:lvl1pPr marL="0" indent="0">
              <a:buNone/>
              <a:defRPr sz="2800" b="1">
                <a:solidFill>
                  <a:srgbClr val="F2675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31" name="Text Placeholder 2">
            <a:extLst>
              <a:ext uri="{FF2B5EF4-FFF2-40B4-BE49-F238E27FC236}">
                <a16:creationId xmlns:a16="http://schemas.microsoft.com/office/drawing/2014/main" id="{8A96C7FA-2D66-72EC-ED77-F152A6B3B4F5}"/>
              </a:ext>
            </a:extLst>
          </p:cNvPr>
          <p:cNvSpPr>
            <a:spLocks noGrp="1"/>
          </p:cNvSpPr>
          <p:nvPr>
            <p:ph type="body" idx="11"/>
          </p:nvPr>
        </p:nvSpPr>
        <p:spPr>
          <a:xfrm>
            <a:off x="685800" y="4238922"/>
            <a:ext cx="6110656" cy="541337"/>
          </a:xfrm>
        </p:spPr>
        <p:txBody>
          <a:bodyPr tIns="0" rIns="0" bIns="0" anchor="t">
            <a:normAutofit/>
          </a:bodyPr>
          <a:lstStyle>
            <a:lvl1pPr marL="0" indent="0">
              <a:buNone/>
              <a:defRPr sz="1600" b="0" i="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509564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Slide-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EBDB9B-E4B1-067C-2A9C-C71646FC4B32}"/>
              </a:ext>
            </a:extLst>
          </p:cNvPr>
          <p:cNvSpPr/>
          <p:nvPr userDrawn="1"/>
        </p:nvSpPr>
        <p:spPr>
          <a:xfrm>
            <a:off x="-2" y="4066976"/>
            <a:ext cx="8694753" cy="2791024"/>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15" name="Picture 14">
            <a:extLst>
              <a:ext uri="{FF2B5EF4-FFF2-40B4-BE49-F238E27FC236}">
                <a16:creationId xmlns:a16="http://schemas.microsoft.com/office/drawing/2014/main" id="{31F17A06-BD33-8DF1-3442-994EAC9942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60532" y="5820113"/>
            <a:ext cx="1042774" cy="441399"/>
          </a:xfrm>
          <a:prstGeom prst="rect">
            <a:avLst/>
          </a:prstGeom>
        </p:spPr>
      </p:pic>
      <p:pic>
        <p:nvPicPr>
          <p:cNvPr id="16" name="Picture 2" descr="Image result for hcm strategists">
            <a:extLst>
              <a:ext uri="{FF2B5EF4-FFF2-40B4-BE49-F238E27FC236}">
                <a16:creationId xmlns:a16="http://schemas.microsoft.com/office/drawing/2014/main" id="{B5EB0F5F-41F5-B844-B02B-A116D88B10D0}"/>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2321" t="18799" r="1590" b="19906"/>
          <a:stretch/>
        </p:blipFill>
        <p:spPr bwMode="auto">
          <a:xfrm>
            <a:off x="10746955" y="5730275"/>
            <a:ext cx="979475" cy="6248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Logo&#10;&#10;Description automatically generated">
            <a:extLst>
              <a:ext uri="{FF2B5EF4-FFF2-40B4-BE49-F238E27FC236}">
                <a16:creationId xmlns:a16="http://schemas.microsoft.com/office/drawing/2014/main" id="{9D9D738E-9568-DC4E-BAC4-D6001FD4947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373989" y="4511043"/>
            <a:ext cx="2138770" cy="951444"/>
          </a:xfrm>
          <a:prstGeom prst="rect">
            <a:avLst/>
          </a:prstGeom>
        </p:spPr>
      </p:pic>
      <p:sp>
        <p:nvSpPr>
          <p:cNvPr id="25" name="TextBox 24">
            <a:extLst>
              <a:ext uri="{FF2B5EF4-FFF2-40B4-BE49-F238E27FC236}">
                <a16:creationId xmlns:a16="http://schemas.microsoft.com/office/drawing/2014/main" id="{BB13B2EF-6D9B-4FF4-78F7-D61749A843EC}"/>
              </a:ext>
            </a:extLst>
          </p:cNvPr>
          <p:cNvSpPr txBox="1"/>
          <p:nvPr userDrawn="1"/>
        </p:nvSpPr>
        <p:spPr>
          <a:xfrm>
            <a:off x="10325501" y="5857678"/>
            <a:ext cx="299258" cy="369332"/>
          </a:xfrm>
          <a:prstGeom prst="rect">
            <a:avLst/>
          </a:prstGeom>
          <a:noFill/>
        </p:spPr>
        <p:txBody>
          <a:bodyPr wrap="square" rtlCol="0">
            <a:spAutoFit/>
          </a:bodyPr>
          <a:lstStyle/>
          <a:p>
            <a:r>
              <a:rPr lang="en-IN" dirty="0">
                <a:solidFill>
                  <a:schemeClr val="tx2"/>
                </a:solidFill>
                <a:latin typeface="Segoe UI" panose="020B0502040204020203" pitchFamily="34" charset="0"/>
                <a:cs typeface="Segoe UI" panose="020B0502040204020203" pitchFamily="34" charset="0"/>
              </a:rPr>
              <a:t>×</a:t>
            </a:r>
            <a:endParaRPr lang="en-US" dirty="0">
              <a:solidFill>
                <a:schemeClr val="tx2"/>
              </a:solidFill>
              <a:latin typeface="Segoe UI" panose="020B0502040204020203" pitchFamily="34" charset="0"/>
              <a:cs typeface="Segoe UI" panose="020B0502040204020203" pitchFamily="34" charset="0"/>
            </a:endParaRPr>
          </a:p>
        </p:txBody>
      </p:sp>
      <p:cxnSp>
        <p:nvCxnSpPr>
          <p:cNvPr id="26" name="Straight Connector 25">
            <a:extLst>
              <a:ext uri="{FF2B5EF4-FFF2-40B4-BE49-F238E27FC236}">
                <a16:creationId xmlns:a16="http://schemas.microsoft.com/office/drawing/2014/main" id="{036FF337-0495-15D8-5072-3DD5D4D69FDA}"/>
              </a:ext>
            </a:extLst>
          </p:cNvPr>
          <p:cNvCxnSpPr>
            <a:cxnSpLocks/>
          </p:cNvCxnSpPr>
          <p:nvPr userDrawn="1"/>
        </p:nvCxnSpPr>
        <p:spPr>
          <a:xfrm flipH="1">
            <a:off x="9168831" y="5602965"/>
            <a:ext cx="2548507"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07B4214E-C193-0EC6-165C-64CFE5224D55}"/>
              </a:ext>
            </a:extLst>
          </p:cNvPr>
          <p:cNvSpPr>
            <a:spLocks noGrp="1"/>
          </p:cNvSpPr>
          <p:nvPr>
            <p:ph type="title"/>
          </p:nvPr>
        </p:nvSpPr>
        <p:spPr>
          <a:xfrm>
            <a:off x="685800" y="4343228"/>
            <a:ext cx="7734300" cy="717722"/>
          </a:xfrm>
        </p:spPr>
        <p:txBody>
          <a:bodyPr anchor="t">
            <a:noAutofit/>
          </a:bodyPr>
          <a:lstStyle>
            <a:lvl1pPr algn="l">
              <a:defRPr sz="3200">
                <a:solidFill>
                  <a:schemeClr val="bg1"/>
                </a:solidFill>
              </a:defRPr>
            </a:lvl1pPr>
          </a:lstStyle>
          <a:p>
            <a:r>
              <a:rPr lang="en-US" dirty="0"/>
              <a:t>Click to edit Master title style</a:t>
            </a:r>
            <a:endParaRPr lang="en-IN" dirty="0"/>
          </a:p>
        </p:txBody>
      </p:sp>
      <p:sp>
        <p:nvSpPr>
          <p:cNvPr id="30" name="Text Placeholder 2">
            <a:extLst>
              <a:ext uri="{FF2B5EF4-FFF2-40B4-BE49-F238E27FC236}">
                <a16:creationId xmlns:a16="http://schemas.microsoft.com/office/drawing/2014/main" id="{0A94A027-61FB-29ED-892A-613B6C508849}"/>
              </a:ext>
            </a:extLst>
          </p:cNvPr>
          <p:cNvSpPr>
            <a:spLocks noGrp="1"/>
          </p:cNvSpPr>
          <p:nvPr>
            <p:ph type="body" idx="1"/>
          </p:nvPr>
        </p:nvSpPr>
        <p:spPr>
          <a:xfrm>
            <a:off x="685800" y="5094976"/>
            <a:ext cx="6110656" cy="541337"/>
          </a:xfrm>
        </p:spPr>
        <p:txBody>
          <a:bodyPr tIns="0" rIns="0" bIns="0" anchor="t">
            <a:normAutofit/>
          </a:bodyPr>
          <a:lstStyle>
            <a:lvl1pPr marL="0" indent="0">
              <a:buNone/>
              <a:defRPr sz="2400" b="0">
                <a:solidFill>
                  <a:srgbClr val="F2675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31" name="Text Placeholder 2">
            <a:extLst>
              <a:ext uri="{FF2B5EF4-FFF2-40B4-BE49-F238E27FC236}">
                <a16:creationId xmlns:a16="http://schemas.microsoft.com/office/drawing/2014/main" id="{826AA9D4-E20F-FE20-F567-4735C054F727}"/>
              </a:ext>
            </a:extLst>
          </p:cNvPr>
          <p:cNvSpPr>
            <a:spLocks noGrp="1"/>
          </p:cNvSpPr>
          <p:nvPr>
            <p:ph type="body" idx="11"/>
          </p:nvPr>
        </p:nvSpPr>
        <p:spPr>
          <a:xfrm>
            <a:off x="685800" y="5956341"/>
            <a:ext cx="6110656" cy="541337"/>
          </a:xfrm>
        </p:spPr>
        <p:txBody>
          <a:bodyPr tIns="0" rIns="0" bIns="0" anchor="t">
            <a:normAutofit/>
          </a:bodyPr>
          <a:lstStyle>
            <a:lvl1pPr marL="0" indent="0">
              <a:buNone/>
              <a:defRPr sz="1600" b="0" i="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32" name="Picture Placeholder 5">
            <a:extLst>
              <a:ext uri="{FF2B5EF4-FFF2-40B4-BE49-F238E27FC236}">
                <a16:creationId xmlns:a16="http://schemas.microsoft.com/office/drawing/2014/main" id="{8087524B-B924-868B-0C26-61511D5FCA4C}"/>
              </a:ext>
            </a:extLst>
          </p:cNvPr>
          <p:cNvSpPr>
            <a:spLocks noGrp="1"/>
          </p:cNvSpPr>
          <p:nvPr>
            <p:ph type="pic" sz="quarter" idx="10"/>
          </p:nvPr>
        </p:nvSpPr>
        <p:spPr>
          <a:xfrm>
            <a:off x="-2" y="1"/>
            <a:ext cx="12192000" cy="4032950"/>
          </a:xfrm>
        </p:spPr>
        <p:txBody>
          <a:bodyPr anchor="ctr"/>
          <a:lstStyle>
            <a:lvl1pPr marL="0" indent="0" algn="ctr">
              <a:buNone/>
              <a:defRPr/>
            </a:lvl1pPr>
          </a:lstStyle>
          <a:p>
            <a:endParaRPr lang="en-IN" dirty="0"/>
          </a:p>
        </p:txBody>
      </p:sp>
      <p:cxnSp>
        <p:nvCxnSpPr>
          <p:cNvPr id="20" name="Straight Connector 19">
            <a:extLst>
              <a:ext uri="{FF2B5EF4-FFF2-40B4-BE49-F238E27FC236}">
                <a16:creationId xmlns:a16="http://schemas.microsoft.com/office/drawing/2014/main" id="{0F229268-4782-C90A-BF91-68983B8CE0E9}"/>
              </a:ext>
            </a:extLst>
          </p:cNvPr>
          <p:cNvCxnSpPr/>
          <p:nvPr userDrawn="1"/>
        </p:nvCxnSpPr>
        <p:spPr>
          <a:xfrm>
            <a:off x="0" y="4046202"/>
            <a:ext cx="12192000" cy="0"/>
          </a:xfrm>
          <a:prstGeom prst="line">
            <a:avLst/>
          </a:prstGeom>
          <a:ln w="50800">
            <a:solidFill>
              <a:srgbClr val="F2675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94850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Break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B7B6B4-9F61-35A8-DDEF-36ECE3A7D187}"/>
              </a:ext>
            </a:extLst>
          </p:cNvPr>
          <p:cNvSpPr/>
          <p:nvPr userDrawn="1"/>
        </p:nvSpPr>
        <p:spPr>
          <a:xfrm>
            <a:off x="0" y="0"/>
            <a:ext cx="12192000" cy="6858000"/>
          </a:xfrm>
          <a:prstGeom prst="rect">
            <a:avLst/>
          </a:prstGeom>
          <a:solidFill>
            <a:srgbClr val="08256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Segoe UI" panose="020B0502040204020203" pitchFamily="34" charset="0"/>
            </a:endParaRPr>
          </a:p>
        </p:txBody>
      </p:sp>
      <p:sp>
        <p:nvSpPr>
          <p:cNvPr id="6" name="Text Placeholder 5">
            <a:extLst>
              <a:ext uri="{FF2B5EF4-FFF2-40B4-BE49-F238E27FC236}">
                <a16:creationId xmlns:a16="http://schemas.microsoft.com/office/drawing/2014/main" id="{A6F2E733-6A0A-771C-0292-01BA99078A39}"/>
              </a:ext>
            </a:extLst>
          </p:cNvPr>
          <p:cNvSpPr>
            <a:spLocks noGrp="1"/>
          </p:cNvSpPr>
          <p:nvPr>
            <p:ph type="body" sz="quarter" idx="10" hasCustomPrompt="1"/>
          </p:nvPr>
        </p:nvSpPr>
        <p:spPr>
          <a:xfrm>
            <a:off x="685800" y="4368800"/>
            <a:ext cx="6819900" cy="952500"/>
          </a:xfrm>
        </p:spPr>
        <p:txBody>
          <a:bodyPr>
            <a:normAutofit/>
          </a:bodyPr>
          <a:lstStyle>
            <a:lvl1pPr marL="0" indent="0">
              <a:buNone/>
              <a:defRPr sz="4800" b="1">
                <a:solidFill>
                  <a:schemeClr val="bg1"/>
                </a:solidFill>
              </a:defRPr>
            </a:lvl1pPr>
          </a:lstStyle>
          <a:p>
            <a:pPr lvl="0"/>
            <a:r>
              <a:rPr lang="en-US" dirty="0"/>
              <a:t>Section Breaker</a:t>
            </a:r>
            <a:endParaRPr lang="en-IN" dirty="0"/>
          </a:p>
        </p:txBody>
      </p:sp>
      <p:sp>
        <p:nvSpPr>
          <p:cNvPr id="8" name="Rectangle 7">
            <a:extLst>
              <a:ext uri="{FF2B5EF4-FFF2-40B4-BE49-F238E27FC236}">
                <a16:creationId xmlns:a16="http://schemas.microsoft.com/office/drawing/2014/main" id="{32B12234-3219-86E5-1BF9-873081B887CE}"/>
              </a:ext>
            </a:extLst>
          </p:cNvPr>
          <p:cNvSpPr/>
          <p:nvPr userDrawn="1"/>
        </p:nvSpPr>
        <p:spPr>
          <a:xfrm>
            <a:off x="0" y="5437055"/>
            <a:ext cx="12192000" cy="45719"/>
          </a:xfrm>
          <a:prstGeom prst="rect">
            <a:avLst/>
          </a:prstGeom>
          <a:solidFill>
            <a:srgbClr val="FF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36188793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Slide-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A1888F-485B-38D7-058E-D3536170EA52}"/>
              </a:ext>
            </a:extLst>
          </p:cNvPr>
          <p:cNvSpPr/>
          <p:nvPr userDrawn="1"/>
        </p:nvSpPr>
        <p:spPr>
          <a:xfrm>
            <a:off x="0" y="0"/>
            <a:ext cx="6096000" cy="6858000"/>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0" name="Picture Placeholder 9">
            <a:extLst>
              <a:ext uri="{FF2B5EF4-FFF2-40B4-BE49-F238E27FC236}">
                <a16:creationId xmlns:a16="http://schemas.microsoft.com/office/drawing/2014/main" id="{C3F3B1E1-42D0-AFD0-2B00-9272C5AC1B19}"/>
              </a:ext>
            </a:extLst>
          </p:cNvPr>
          <p:cNvSpPr>
            <a:spLocks noGrp="1"/>
          </p:cNvSpPr>
          <p:nvPr>
            <p:ph type="pic" sz="quarter" idx="11" hasCustomPrompt="1"/>
          </p:nvPr>
        </p:nvSpPr>
        <p:spPr>
          <a:xfrm>
            <a:off x="6324602" y="754246"/>
            <a:ext cx="2185987" cy="763587"/>
          </a:xfrm>
        </p:spPr>
        <p:txBody>
          <a:bodyPr anchor="ctr">
            <a:normAutofit/>
          </a:bodyPr>
          <a:lstStyle>
            <a:lvl1pPr marL="0" indent="0" algn="ctr">
              <a:buNone/>
              <a:defRPr sz="2000"/>
            </a:lvl1pPr>
          </a:lstStyle>
          <a:p>
            <a:r>
              <a:rPr lang="en-US" dirty="0"/>
              <a:t>Logo</a:t>
            </a:r>
            <a:endParaRPr lang="en-IN" dirty="0"/>
          </a:p>
        </p:txBody>
      </p:sp>
      <p:sp>
        <p:nvSpPr>
          <p:cNvPr id="12" name="Picture Placeholder 9">
            <a:extLst>
              <a:ext uri="{FF2B5EF4-FFF2-40B4-BE49-F238E27FC236}">
                <a16:creationId xmlns:a16="http://schemas.microsoft.com/office/drawing/2014/main" id="{2902CD48-68D7-59B8-61FD-16255CF913A1}"/>
              </a:ext>
            </a:extLst>
          </p:cNvPr>
          <p:cNvSpPr>
            <a:spLocks noGrp="1"/>
          </p:cNvSpPr>
          <p:nvPr>
            <p:ph type="pic" sz="quarter" idx="12" hasCustomPrompt="1"/>
          </p:nvPr>
        </p:nvSpPr>
        <p:spPr>
          <a:xfrm>
            <a:off x="9320213" y="754246"/>
            <a:ext cx="2185987" cy="763587"/>
          </a:xfrm>
        </p:spPr>
        <p:txBody>
          <a:bodyPr anchor="ctr">
            <a:normAutofit/>
          </a:bodyPr>
          <a:lstStyle>
            <a:lvl1pPr marL="0" indent="0" algn="ctr">
              <a:buNone/>
              <a:defRPr sz="2000"/>
            </a:lvl1pPr>
          </a:lstStyle>
          <a:p>
            <a:r>
              <a:rPr lang="en-US" dirty="0"/>
              <a:t>Logo</a:t>
            </a:r>
            <a:endParaRPr lang="en-IN" dirty="0"/>
          </a:p>
        </p:txBody>
      </p:sp>
      <p:sp>
        <p:nvSpPr>
          <p:cNvPr id="13" name="Picture Placeholder 9">
            <a:extLst>
              <a:ext uri="{FF2B5EF4-FFF2-40B4-BE49-F238E27FC236}">
                <a16:creationId xmlns:a16="http://schemas.microsoft.com/office/drawing/2014/main" id="{8029E5AE-759D-8451-B11E-0FE34E635111}"/>
              </a:ext>
            </a:extLst>
          </p:cNvPr>
          <p:cNvSpPr>
            <a:spLocks noGrp="1"/>
          </p:cNvSpPr>
          <p:nvPr>
            <p:ph type="pic" sz="quarter" idx="13" hasCustomPrompt="1"/>
          </p:nvPr>
        </p:nvSpPr>
        <p:spPr>
          <a:xfrm>
            <a:off x="9042401" y="5223975"/>
            <a:ext cx="2185987" cy="763587"/>
          </a:xfrm>
        </p:spPr>
        <p:txBody>
          <a:bodyPr anchor="ctr">
            <a:normAutofit/>
          </a:bodyPr>
          <a:lstStyle>
            <a:lvl1pPr marL="0" indent="0" algn="ctr">
              <a:buNone/>
              <a:defRPr sz="2000"/>
            </a:lvl1pPr>
          </a:lstStyle>
          <a:p>
            <a:r>
              <a:rPr lang="en-US" dirty="0"/>
              <a:t>Logo</a:t>
            </a:r>
            <a:endParaRPr lang="en-IN" dirty="0"/>
          </a:p>
        </p:txBody>
      </p:sp>
      <p:sp>
        <p:nvSpPr>
          <p:cNvPr id="21" name="Title 1">
            <a:extLst>
              <a:ext uri="{FF2B5EF4-FFF2-40B4-BE49-F238E27FC236}">
                <a16:creationId xmlns:a16="http://schemas.microsoft.com/office/drawing/2014/main" id="{AEAF36BB-F8CB-98F0-7DF6-E269E05AE1DB}"/>
              </a:ext>
            </a:extLst>
          </p:cNvPr>
          <p:cNvSpPr>
            <a:spLocks noGrp="1"/>
          </p:cNvSpPr>
          <p:nvPr>
            <p:ph type="title"/>
          </p:nvPr>
        </p:nvSpPr>
        <p:spPr>
          <a:xfrm>
            <a:off x="6324602" y="2413897"/>
            <a:ext cx="5181600" cy="1304497"/>
          </a:xfrm>
        </p:spPr>
        <p:txBody>
          <a:bodyPr anchor="ctr">
            <a:noAutofit/>
          </a:bodyPr>
          <a:lstStyle>
            <a:lvl1pPr algn="l">
              <a:defRPr sz="4400">
                <a:solidFill>
                  <a:srgbClr val="082567"/>
                </a:solidFill>
              </a:defRPr>
            </a:lvl1pPr>
          </a:lstStyle>
          <a:p>
            <a:r>
              <a:rPr lang="en-US" dirty="0"/>
              <a:t>Click to edit Master title style</a:t>
            </a:r>
            <a:endParaRPr lang="en-IN" dirty="0"/>
          </a:p>
        </p:txBody>
      </p:sp>
      <p:sp>
        <p:nvSpPr>
          <p:cNvPr id="22" name="Text Placeholder 2">
            <a:extLst>
              <a:ext uri="{FF2B5EF4-FFF2-40B4-BE49-F238E27FC236}">
                <a16:creationId xmlns:a16="http://schemas.microsoft.com/office/drawing/2014/main" id="{F883D805-68D6-686D-B01F-A057FBDDCFE0}"/>
              </a:ext>
            </a:extLst>
          </p:cNvPr>
          <p:cNvSpPr>
            <a:spLocks noGrp="1"/>
          </p:cNvSpPr>
          <p:nvPr>
            <p:ph type="body" idx="1"/>
          </p:nvPr>
        </p:nvSpPr>
        <p:spPr>
          <a:xfrm>
            <a:off x="6324602" y="3786574"/>
            <a:ext cx="4975328" cy="541337"/>
          </a:xfrm>
        </p:spPr>
        <p:txBody>
          <a:bodyPr anchor="ctr">
            <a:normAutofit/>
          </a:bodyPr>
          <a:lstStyle>
            <a:lvl1pPr marL="0" indent="0">
              <a:buNone/>
              <a:defRPr sz="2800">
                <a:solidFill>
                  <a:srgbClr val="F2675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2" name="Rectangle 1">
            <a:extLst>
              <a:ext uri="{FF2B5EF4-FFF2-40B4-BE49-F238E27FC236}">
                <a16:creationId xmlns:a16="http://schemas.microsoft.com/office/drawing/2014/main" id="{07BBCE15-FA41-6E41-4936-39D29A45F39A}"/>
              </a:ext>
            </a:extLst>
          </p:cNvPr>
          <p:cNvSpPr/>
          <p:nvPr userDrawn="1"/>
        </p:nvSpPr>
        <p:spPr>
          <a:xfrm>
            <a:off x="264136" y="4437552"/>
            <a:ext cx="2150450" cy="2150450"/>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Segoe UI" panose="020B0502040204020203" pitchFamily="34" charset="0"/>
            </a:endParaRPr>
          </a:p>
        </p:txBody>
      </p:sp>
      <p:sp>
        <p:nvSpPr>
          <p:cNvPr id="6" name="Picture Placeholder 5">
            <a:extLst>
              <a:ext uri="{FF2B5EF4-FFF2-40B4-BE49-F238E27FC236}">
                <a16:creationId xmlns:a16="http://schemas.microsoft.com/office/drawing/2014/main" id="{2C23832A-927B-83FD-0FC7-1F8D0BD6341B}"/>
              </a:ext>
            </a:extLst>
          </p:cNvPr>
          <p:cNvSpPr>
            <a:spLocks noGrp="1"/>
          </p:cNvSpPr>
          <p:nvPr>
            <p:ph type="pic" sz="quarter" idx="10"/>
          </p:nvPr>
        </p:nvSpPr>
        <p:spPr>
          <a:xfrm>
            <a:off x="685800" y="685801"/>
            <a:ext cx="5181600" cy="5486400"/>
          </a:xfrm>
        </p:spPr>
        <p:txBody>
          <a:bodyPr anchor="ctr"/>
          <a:lstStyle>
            <a:lvl1pPr marL="0" indent="0" algn="ctr">
              <a:buNone/>
              <a:defRPr>
                <a:solidFill>
                  <a:schemeClr val="bg1"/>
                </a:solidFill>
              </a:defRPr>
            </a:lvl1pPr>
          </a:lstStyle>
          <a:p>
            <a:endParaRPr lang="en-IN" dirty="0"/>
          </a:p>
        </p:txBody>
      </p:sp>
    </p:spTree>
    <p:extLst>
      <p:ext uri="{BB962C8B-B14F-4D97-AF65-F5344CB8AC3E}">
        <p14:creationId xmlns:p14="http://schemas.microsoft.com/office/powerpoint/2010/main" val="658602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lide Breaker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2758190"/>
            <a:ext cx="12192000" cy="40998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2" name="Title 1"/>
          <p:cNvSpPr>
            <a:spLocks noGrp="1"/>
          </p:cNvSpPr>
          <p:nvPr>
            <p:ph type="title" hasCustomPrompt="1"/>
          </p:nvPr>
        </p:nvSpPr>
        <p:spPr>
          <a:xfrm>
            <a:off x="766763" y="4002480"/>
            <a:ext cx="5329237" cy="989595"/>
          </a:xfrm>
          <a:prstGeom prst="rect">
            <a:avLst/>
          </a:prstGeom>
        </p:spPr>
        <p:txBody>
          <a:bodyPr lIns="0" anchor="ctr"/>
          <a:lstStyle>
            <a:lvl1pPr algn="l">
              <a:defRPr>
                <a:solidFill>
                  <a:srgbClr val="FFFFFF"/>
                </a:solidFill>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0" y="-2"/>
            <a:ext cx="12192000" cy="275819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cxnSp>
        <p:nvCxnSpPr>
          <p:cNvPr id="4" name="Straight Connector 3">
            <a:extLst>
              <a:ext uri="{FF2B5EF4-FFF2-40B4-BE49-F238E27FC236}">
                <a16:creationId xmlns:a16="http://schemas.microsoft.com/office/drawing/2014/main" id="{9252261D-42C0-939A-0448-368AF65D2809}"/>
              </a:ext>
            </a:extLst>
          </p:cNvPr>
          <p:cNvCxnSpPr>
            <a:cxnSpLocks/>
          </p:cNvCxnSpPr>
          <p:nvPr userDrawn="1"/>
        </p:nvCxnSpPr>
        <p:spPr>
          <a:xfrm>
            <a:off x="749508" y="5276538"/>
            <a:ext cx="3117954"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79248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B17AF-8539-6692-035B-DD2B0751B303}"/>
              </a:ext>
            </a:extLst>
          </p:cNvPr>
          <p:cNvSpPr>
            <a:spLocks noGrp="1"/>
          </p:cNvSpPr>
          <p:nvPr>
            <p:ph type="title"/>
          </p:nvPr>
        </p:nvSpPr>
        <p:spPr>
          <a:xfrm>
            <a:off x="685800" y="685800"/>
            <a:ext cx="4086225" cy="1371600"/>
          </a:xfrm>
        </p:spPr>
        <p:txBody>
          <a:bodyPr anchor="b"/>
          <a:lstStyle>
            <a:lvl1pPr>
              <a:defRPr sz="3200"/>
            </a:lvl1pPr>
          </a:lstStyle>
          <a:p>
            <a:r>
              <a:rPr lang="en-US" dirty="0"/>
              <a:t>Click to edit Master title style</a:t>
            </a:r>
            <a:endParaRPr lang="en-IN" dirty="0"/>
          </a:p>
        </p:txBody>
      </p:sp>
      <p:sp>
        <p:nvSpPr>
          <p:cNvPr id="3" name="Content Placeholder 2">
            <a:extLst>
              <a:ext uri="{FF2B5EF4-FFF2-40B4-BE49-F238E27FC236}">
                <a16:creationId xmlns:a16="http://schemas.microsoft.com/office/drawing/2014/main" id="{0DD11F0A-7FF3-5090-2B49-64C81691A38C}"/>
              </a:ext>
            </a:extLst>
          </p:cNvPr>
          <p:cNvSpPr>
            <a:spLocks noGrp="1"/>
          </p:cNvSpPr>
          <p:nvPr>
            <p:ph idx="1"/>
          </p:nvPr>
        </p:nvSpPr>
        <p:spPr>
          <a:xfrm>
            <a:off x="5183188" y="685801"/>
            <a:ext cx="6323012" cy="51752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Text Placeholder 3">
            <a:extLst>
              <a:ext uri="{FF2B5EF4-FFF2-40B4-BE49-F238E27FC236}">
                <a16:creationId xmlns:a16="http://schemas.microsoft.com/office/drawing/2014/main" id="{13B88649-9F74-E397-69DA-4E572A49D458}"/>
              </a:ext>
            </a:extLst>
          </p:cNvPr>
          <p:cNvSpPr>
            <a:spLocks noGrp="1"/>
          </p:cNvSpPr>
          <p:nvPr>
            <p:ph type="body" sz="half" idx="2"/>
          </p:nvPr>
        </p:nvSpPr>
        <p:spPr>
          <a:xfrm>
            <a:off x="685800" y="2190372"/>
            <a:ext cx="4086225" cy="367861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Slide Number Placeholder 5">
            <a:extLst>
              <a:ext uri="{FF2B5EF4-FFF2-40B4-BE49-F238E27FC236}">
                <a16:creationId xmlns:a16="http://schemas.microsoft.com/office/drawing/2014/main" id="{1594CE85-F15B-AE04-76CD-DADB0AFFEEDD}"/>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6" name="Rectangle 5">
            <a:extLst>
              <a:ext uri="{FF2B5EF4-FFF2-40B4-BE49-F238E27FC236}">
                <a16:creationId xmlns:a16="http://schemas.microsoft.com/office/drawing/2014/main" id="{C9DB3267-3710-B8F8-36CD-B0871CCF557F}"/>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0A6E76C4-74E4-2813-DBD0-D5184716DF01}"/>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8" name="Picture 7">
            <a:extLst>
              <a:ext uri="{FF2B5EF4-FFF2-40B4-BE49-F238E27FC236}">
                <a16:creationId xmlns:a16="http://schemas.microsoft.com/office/drawing/2014/main" id="{E1CAB6BE-2B98-1B2B-0D26-44C11F4F38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Tree>
    <p:extLst>
      <p:ext uri="{BB962C8B-B14F-4D97-AF65-F5344CB8AC3E}">
        <p14:creationId xmlns:p14="http://schemas.microsoft.com/office/powerpoint/2010/main" val="26842186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522EF-9023-7855-4995-668EAE585203}"/>
              </a:ext>
            </a:extLst>
          </p:cNvPr>
          <p:cNvSpPr>
            <a:spLocks noGrp="1"/>
          </p:cNvSpPr>
          <p:nvPr>
            <p:ph type="title"/>
          </p:nvPr>
        </p:nvSpPr>
        <p:spPr>
          <a:xfrm>
            <a:off x="682624" y="685800"/>
            <a:ext cx="4086225" cy="1371600"/>
          </a:xfrm>
        </p:spPr>
        <p:txBody>
          <a:bodyPr anchor="b"/>
          <a:lstStyle>
            <a:lvl1pPr>
              <a:defRPr sz="3200"/>
            </a:lvl1pPr>
          </a:lstStyle>
          <a:p>
            <a:r>
              <a:rPr lang="en-US" dirty="0"/>
              <a:t>Click to edit Master title style</a:t>
            </a:r>
            <a:endParaRPr lang="en-IN" dirty="0"/>
          </a:p>
        </p:txBody>
      </p:sp>
      <p:sp>
        <p:nvSpPr>
          <p:cNvPr id="3" name="Picture Placeholder 2">
            <a:extLst>
              <a:ext uri="{FF2B5EF4-FFF2-40B4-BE49-F238E27FC236}">
                <a16:creationId xmlns:a16="http://schemas.microsoft.com/office/drawing/2014/main" id="{3CD433BA-FB29-5681-21A0-232722D357AC}"/>
              </a:ext>
            </a:extLst>
          </p:cNvPr>
          <p:cNvSpPr>
            <a:spLocks noGrp="1"/>
          </p:cNvSpPr>
          <p:nvPr>
            <p:ph type="pic" idx="1"/>
          </p:nvPr>
        </p:nvSpPr>
        <p:spPr>
          <a:xfrm>
            <a:off x="5183188" y="685801"/>
            <a:ext cx="6323012" cy="5175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2B0D7675-B8C2-DC35-88D7-30E83BB93010}"/>
              </a:ext>
            </a:extLst>
          </p:cNvPr>
          <p:cNvSpPr>
            <a:spLocks noGrp="1"/>
          </p:cNvSpPr>
          <p:nvPr>
            <p:ph type="body" sz="half" idx="2"/>
          </p:nvPr>
        </p:nvSpPr>
        <p:spPr>
          <a:xfrm>
            <a:off x="685800" y="2190372"/>
            <a:ext cx="4086225" cy="367861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Slide Number Placeholder 5">
            <a:extLst>
              <a:ext uri="{FF2B5EF4-FFF2-40B4-BE49-F238E27FC236}">
                <a16:creationId xmlns:a16="http://schemas.microsoft.com/office/drawing/2014/main" id="{A91A6544-8A3C-735A-A74C-12FD7D337F04}"/>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6" name="Rectangle 5">
            <a:extLst>
              <a:ext uri="{FF2B5EF4-FFF2-40B4-BE49-F238E27FC236}">
                <a16:creationId xmlns:a16="http://schemas.microsoft.com/office/drawing/2014/main" id="{4765AC74-C687-AB10-805C-5778E574103C}"/>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84AAF6A0-2185-8C9F-85ED-64FBE3DF334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8" name="Picture 7">
            <a:extLst>
              <a:ext uri="{FF2B5EF4-FFF2-40B4-BE49-F238E27FC236}">
                <a16:creationId xmlns:a16="http://schemas.microsoft.com/office/drawing/2014/main" id="{BE9169C0-531A-B35D-294F-2E88F9B1B6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Tree>
    <p:extLst>
      <p:ext uri="{BB962C8B-B14F-4D97-AF65-F5344CB8AC3E}">
        <p14:creationId xmlns:p14="http://schemas.microsoft.com/office/powerpoint/2010/main" val="1958901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4BF17D-AB10-F2EA-FC39-2AE08F15D8F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6C1805C-9C02-8B92-7793-D7463435C77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2" name="Slide Number Placeholder 5">
            <a:extLst>
              <a:ext uri="{FF2B5EF4-FFF2-40B4-BE49-F238E27FC236}">
                <a16:creationId xmlns:a16="http://schemas.microsoft.com/office/drawing/2014/main" id="{0F65D067-FF03-F634-34BA-51439482BCC0}"/>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13" name="Rectangle 12">
            <a:extLst>
              <a:ext uri="{FF2B5EF4-FFF2-40B4-BE49-F238E27FC236}">
                <a16:creationId xmlns:a16="http://schemas.microsoft.com/office/drawing/2014/main" id="{8A3D0FE2-5A11-094C-B310-FF0F2D8B5C72}"/>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4" name="Slide Number Placeholder 5">
            <a:extLst>
              <a:ext uri="{FF2B5EF4-FFF2-40B4-BE49-F238E27FC236}">
                <a16:creationId xmlns:a16="http://schemas.microsoft.com/office/drawing/2014/main" id="{AE5E3351-BA63-5EED-D869-026D8DB00939}"/>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5" name="Picture 14">
            <a:extLst>
              <a:ext uri="{FF2B5EF4-FFF2-40B4-BE49-F238E27FC236}">
                <a16:creationId xmlns:a16="http://schemas.microsoft.com/office/drawing/2014/main" id="{3BF33084-F600-1492-5E50-E217F759910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6" name="Rectangle 15">
            <a:extLst>
              <a:ext uri="{FF2B5EF4-FFF2-40B4-BE49-F238E27FC236}">
                <a16:creationId xmlns:a16="http://schemas.microsoft.com/office/drawing/2014/main" id="{9AD3084B-2BA1-138E-DE6B-227997633C4E}"/>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35208829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Break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B7B6B4-9F61-35A8-DDEF-36ECE3A7D187}"/>
              </a:ext>
            </a:extLst>
          </p:cNvPr>
          <p:cNvSpPr/>
          <p:nvPr userDrawn="1"/>
        </p:nvSpPr>
        <p:spPr>
          <a:xfrm>
            <a:off x="0" y="0"/>
            <a:ext cx="12192000" cy="6858000"/>
          </a:xfrm>
          <a:prstGeom prst="rect">
            <a:avLst/>
          </a:prstGeom>
          <a:solidFill>
            <a:srgbClr val="08256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Segoe UI" panose="020B0502040204020203" pitchFamily="34" charset="0"/>
            </a:endParaRPr>
          </a:p>
        </p:txBody>
      </p:sp>
      <p:sp>
        <p:nvSpPr>
          <p:cNvPr id="3" name="Picture Placeholder 2">
            <a:extLst>
              <a:ext uri="{FF2B5EF4-FFF2-40B4-BE49-F238E27FC236}">
                <a16:creationId xmlns:a16="http://schemas.microsoft.com/office/drawing/2014/main" id="{C074888D-E423-D988-02F3-4BD736CE11A1}"/>
              </a:ext>
            </a:extLst>
          </p:cNvPr>
          <p:cNvSpPr>
            <a:spLocks noGrp="1"/>
          </p:cNvSpPr>
          <p:nvPr>
            <p:ph type="pic" sz="quarter" idx="11"/>
          </p:nvPr>
        </p:nvSpPr>
        <p:spPr>
          <a:xfrm>
            <a:off x="6324599" y="0"/>
            <a:ext cx="5867401" cy="6858000"/>
          </a:xfrm>
        </p:spPr>
        <p:txBody>
          <a:bodyPr anchor="ctr"/>
          <a:lstStyle>
            <a:lvl1pPr marL="0" indent="0" algn="ctr">
              <a:buNone/>
              <a:defRPr>
                <a:solidFill>
                  <a:schemeClr val="bg1"/>
                </a:solidFill>
              </a:defRPr>
            </a:lvl1pPr>
          </a:lstStyle>
          <a:p>
            <a:endParaRPr lang="en-IN" dirty="0"/>
          </a:p>
        </p:txBody>
      </p:sp>
      <p:sp>
        <p:nvSpPr>
          <p:cNvPr id="6" name="Text Placeholder 5">
            <a:extLst>
              <a:ext uri="{FF2B5EF4-FFF2-40B4-BE49-F238E27FC236}">
                <a16:creationId xmlns:a16="http://schemas.microsoft.com/office/drawing/2014/main" id="{A6F2E733-6A0A-771C-0292-01BA99078A39}"/>
              </a:ext>
            </a:extLst>
          </p:cNvPr>
          <p:cNvSpPr>
            <a:spLocks noGrp="1"/>
          </p:cNvSpPr>
          <p:nvPr>
            <p:ph type="body" sz="quarter" idx="10" hasCustomPrompt="1"/>
          </p:nvPr>
        </p:nvSpPr>
        <p:spPr>
          <a:xfrm>
            <a:off x="685800" y="3657600"/>
            <a:ext cx="5181600" cy="1841500"/>
          </a:xfrm>
        </p:spPr>
        <p:txBody>
          <a:bodyPr>
            <a:normAutofit/>
          </a:bodyPr>
          <a:lstStyle>
            <a:lvl1pPr marL="0" indent="0">
              <a:buNone/>
              <a:defRPr sz="4000" b="1">
                <a:solidFill>
                  <a:schemeClr val="bg1"/>
                </a:solidFill>
              </a:defRPr>
            </a:lvl1pPr>
          </a:lstStyle>
          <a:p>
            <a:pPr lvl="0"/>
            <a:r>
              <a:rPr lang="en-US" dirty="0"/>
              <a:t>Section Breaker</a:t>
            </a:r>
            <a:endParaRPr lang="en-IN" dirty="0"/>
          </a:p>
        </p:txBody>
      </p:sp>
      <p:sp>
        <p:nvSpPr>
          <p:cNvPr id="8" name="Rectangle 7">
            <a:extLst>
              <a:ext uri="{FF2B5EF4-FFF2-40B4-BE49-F238E27FC236}">
                <a16:creationId xmlns:a16="http://schemas.microsoft.com/office/drawing/2014/main" id="{32B12234-3219-86E5-1BF9-873081B887CE}"/>
              </a:ext>
            </a:extLst>
          </p:cNvPr>
          <p:cNvSpPr/>
          <p:nvPr userDrawn="1"/>
        </p:nvSpPr>
        <p:spPr>
          <a:xfrm>
            <a:off x="0" y="3360605"/>
            <a:ext cx="5867400" cy="68395"/>
          </a:xfrm>
          <a:prstGeom prst="rect">
            <a:avLst/>
          </a:prstGeom>
          <a:solidFill>
            <a:srgbClr val="FF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29655999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46B1BF-108C-58F6-51BA-679DA261F26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05468CB9-6D8E-705A-B1AF-D8C6D10316D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Slide Number Placeholder 5">
            <a:extLst>
              <a:ext uri="{FF2B5EF4-FFF2-40B4-BE49-F238E27FC236}">
                <a16:creationId xmlns:a16="http://schemas.microsoft.com/office/drawing/2014/main" id="{657D56AF-A00F-795C-B759-9A3CB8A039CA}"/>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8" name="Rectangle 7">
            <a:extLst>
              <a:ext uri="{FF2B5EF4-FFF2-40B4-BE49-F238E27FC236}">
                <a16:creationId xmlns:a16="http://schemas.microsoft.com/office/drawing/2014/main" id="{FE79649D-2167-7C56-4A86-6BB490402B12}"/>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9" name="Slide Number Placeholder 5">
            <a:extLst>
              <a:ext uri="{FF2B5EF4-FFF2-40B4-BE49-F238E27FC236}">
                <a16:creationId xmlns:a16="http://schemas.microsoft.com/office/drawing/2014/main" id="{AD5110BA-6483-C69D-2DD8-5192A9880F93}"/>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0" name="Picture 9">
            <a:extLst>
              <a:ext uri="{FF2B5EF4-FFF2-40B4-BE49-F238E27FC236}">
                <a16:creationId xmlns:a16="http://schemas.microsoft.com/office/drawing/2014/main" id="{80F94031-5AB6-49C5-3EC8-86257D82DA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1" name="Rectangle 10">
            <a:extLst>
              <a:ext uri="{FF2B5EF4-FFF2-40B4-BE49-F238E27FC236}">
                <a16:creationId xmlns:a16="http://schemas.microsoft.com/office/drawing/2014/main" id="{E40F8E08-7B61-82D1-8A98-E8B7543A8245}"/>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2535864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Plain ">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0030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C37E1-986A-26A4-7A5A-13B6EC7456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CD96155-FCAD-9FC2-33E3-BBB341289B5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7EF08C-F105-8E9D-21AE-070EE507A43D}"/>
              </a:ext>
            </a:extLst>
          </p:cNvPr>
          <p:cNvSpPr>
            <a:spLocks noGrp="1"/>
          </p:cNvSpPr>
          <p:nvPr>
            <p:ph type="dt" sz="half" idx="10"/>
          </p:nvPr>
        </p:nvSpPr>
        <p:spPr/>
        <p:txBody>
          <a:bodyPr/>
          <a:lstStyle/>
          <a:p>
            <a:fld id="{2AA0FA02-2387-9E48-B868-0B4649F87CFE}" type="datetimeFigureOut">
              <a:rPr lang="en-US" smtClean="0"/>
              <a:t>8/10/22</a:t>
            </a:fld>
            <a:endParaRPr lang="en-US"/>
          </a:p>
        </p:txBody>
      </p:sp>
      <p:sp>
        <p:nvSpPr>
          <p:cNvPr id="5" name="Footer Placeholder 4">
            <a:extLst>
              <a:ext uri="{FF2B5EF4-FFF2-40B4-BE49-F238E27FC236}">
                <a16:creationId xmlns:a16="http://schemas.microsoft.com/office/drawing/2014/main" id="{135E405F-BEA1-8B47-7C7A-58A56B191E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48EF1D-0275-2EDA-B373-3E34D9699981}"/>
              </a:ext>
            </a:extLst>
          </p:cNvPr>
          <p:cNvSpPr>
            <a:spLocks noGrp="1"/>
          </p:cNvSpPr>
          <p:nvPr>
            <p:ph type="sldNum" sz="quarter" idx="12"/>
          </p:nvPr>
        </p:nvSpPr>
        <p:spPr/>
        <p:txBody>
          <a:bodyPr/>
          <a:lstStyle/>
          <a:p>
            <a:fld id="{E9EAAEDD-DDD9-934A-A227-E48A03534A10}" type="slidenum">
              <a:rPr lang="en-US" smtClean="0"/>
              <a:t>‹#›</a:t>
            </a:fld>
            <a:endParaRPr lang="en-US"/>
          </a:p>
        </p:txBody>
      </p:sp>
    </p:spTree>
    <p:extLst>
      <p:ext uri="{BB962C8B-B14F-4D97-AF65-F5344CB8AC3E}">
        <p14:creationId xmlns:p14="http://schemas.microsoft.com/office/powerpoint/2010/main" val="40215374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BCD46C8-30CD-0269-B46D-7061EDF200E5}"/>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9" name="Slide Number Placeholder 5">
            <a:extLst>
              <a:ext uri="{FF2B5EF4-FFF2-40B4-BE49-F238E27FC236}">
                <a16:creationId xmlns:a16="http://schemas.microsoft.com/office/drawing/2014/main" id="{11FC0A47-9B68-C4FC-8263-020D098068E1}"/>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10" name="Rectangle 9">
            <a:extLst>
              <a:ext uri="{FF2B5EF4-FFF2-40B4-BE49-F238E27FC236}">
                <a16:creationId xmlns:a16="http://schemas.microsoft.com/office/drawing/2014/main" id="{111A8464-CCFE-C0C9-9B91-66995EBAF0C9}"/>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1" name="Slide Number Placeholder 5">
            <a:extLst>
              <a:ext uri="{FF2B5EF4-FFF2-40B4-BE49-F238E27FC236}">
                <a16:creationId xmlns:a16="http://schemas.microsoft.com/office/drawing/2014/main" id="{F2622CAF-7253-7C9C-D55F-C58DA8D14D30}"/>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2" name="Picture 11">
            <a:extLst>
              <a:ext uri="{FF2B5EF4-FFF2-40B4-BE49-F238E27FC236}">
                <a16:creationId xmlns:a16="http://schemas.microsoft.com/office/drawing/2014/main" id="{63DC1CC5-B18A-F1A4-529F-31348EDA0A7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Tree>
    <p:extLst>
      <p:ext uri="{BB962C8B-B14F-4D97-AF65-F5344CB8AC3E}">
        <p14:creationId xmlns:p14="http://schemas.microsoft.com/office/powerpoint/2010/main" val="16536670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Regula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8CF25891-423F-169C-5159-B580A9C1FB97}"/>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8" name="Rectangle 7">
            <a:extLst>
              <a:ext uri="{FF2B5EF4-FFF2-40B4-BE49-F238E27FC236}">
                <a16:creationId xmlns:a16="http://schemas.microsoft.com/office/drawing/2014/main" id="{887542D1-50D8-3DC4-CE7A-8BF93567C72F}"/>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7DD0A5B5-B05C-C938-ECD0-BC7F391BF66D}"/>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4A563FD0-76BE-9508-3FE9-94E3D0D492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Text Placeholder 3">
            <a:extLst>
              <a:ext uri="{FF2B5EF4-FFF2-40B4-BE49-F238E27FC236}">
                <a16:creationId xmlns:a16="http://schemas.microsoft.com/office/drawing/2014/main" id="{25BD77EB-C395-A8A3-EFBD-15C4AA33638A}"/>
              </a:ext>
            </a:extLst>
          </p:cNvPr>
          <p:cNvSpPr>
            <a:spLocks noGrp="1"/>
          </p:cNvSpPr>
          <p:nvPr>
            <p:ph type="body" sz="quarter" idx="10"/>
          </p:nvPr>
        </p:nvSpPr>
        <p:spPr>
          <a:xfrm>
            <a:off x="685800" y="1342095"/>
            <a:ext cx="10820399" cy="4514850"/>
          </a:xfrm>
          <a:prstGeom prst="rect">
            <a:avLst/>
          </a:prstGeom>
        </p:spPr>
        <p:txBody>
          <a:bodyPr/>
          <a:lstStyle>
            <a:lvl1pPr>
              <a:buClr>
                <a:srgbClr val="F26752"/>
              </a:buClr>
              <a:defRPr sz="2000">
                <a:solidFill>
                  <a:schemeClr val="bg2">
                    <a:lumMod val="10000"/>
                  </a:schemeClr>
                </a:solidFill>
              </a:defRPr>
            </a:lvl1pPr>
            <a:lvl2pPr marL="685800" indent="-228600">
              <a:buClr>
                <a:srgbClr val="F26752"/>
              </a:buClr>
              <a:buFont typeface="Courier New" panose="02070309020205020404" pitchFamily="49" charset="0"/>
              <a:buChar char="o"/>
              <a:defRPr sz="1800">
                <a:solidFill>
                  <a:schemeClr val="bg2">
                    <a:lumMod val="10000"/>
                  </a:schemeClr>
                </a:solidFill>
              </a:defRPr>
            </a:lvl2pPr>
            <a:lvl3pPr marL="1143000" indent="-228600">
              <a:buClr>
                <a:srgbClr val="F26752"/>
              </a:buClr>
              <a:buFont typeface="Segoe UI" panose="020B0502040204020203" pitchFamily="34" charset="0"/>
              <a:buChar cha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7" name="Title 1">
            <a:extLst>
              <a:ext uri="{FF2B5EF4-FFF2-40B4-BE49-F238E27FC236}">
                <a16:creationId xmlns:a16="http://schemas.microsoft.com/office/drawing/2014/main" id="{588B59E2-A9CF-A95F-6B43-985FB29ED443}"/>
              </a:ext>
            </a:extLst>
          </p:cNvPr>
          <p:cNvSpPr>
            <a:spLocks noGrp="1"/>
          </p:cNvSpPr>
          <p:nvPr>
            <p:ph type="title"/>
          </p:nvPr>
        </p:nvSpPr>
        <p:spPr>
          <a:xfrm>
            <a:off x="685800" y="544606"/>
            <a:ext cx="10820398" cy="665867"/>
          </a:xfrm>
        </p:spPr>
        <p:txBody>
          <a:bodyPr>
            <a:normAutofit/>
          </a:bodyPr>
          <a:lstStyle>
            <a:lvl1pPr>
              <a:defRPr sz="3200" b="1">
                <a:latin typeface="Segoe UI" panose="020B0502040204020203" pitchFamily="34" charset="0"/>
                <a:cs typeface="Segoe UI" panose="020B0502040204020203" pitchFamily="34" charset="0"/>
              </a:defRPr>
            </a:lvl1pPr>
          </a:lstStyle>
          <a:p>
            <a:r>
              <a:rPr lang="en-US" dirty="0"/>
              <a:t>Click to edit Master title style</a:t>
            </a:r>
            <a:endParaRPr lang="en-IN" dirty="0"/>
          </a:p>
        </p:txBody>
      </p:sp>
      <p:sp>
        <p:nvSpPr>
          <p:cNvPr id="9" name="Rectangle 8">
            <a:extLst>
              <a:ext uri="{FF2B5EF4-FFF2-40B4-BE49-F238E27FC236}">
                <a16:creationId xmlns:a16="http://schemas.microsoft.com/office/drawing/2014/main" id="{344ADB12-A11A-41AB-0AEC-4A91FB2F6A51}"/>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2057009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ntent (Regula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8CF25891-423F-169C-5159-B580A9C1FB97}"/>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8" name="Rectangle 7">
            <a:extLst>
              <a:ext uri="{FF2B5EF4-FFF2-40B4-BE49-F238E27FC236}">
                <a16:creationId xmlns:a16="http://schemas.microsoft.com/office/drawing/2014/main" id="{887542D1-50D8-3DC4-CE7A-8BF93567C72F}"/>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7DD0A5B5-B05C-C938-ECD0-BC7F391BF66D}"/>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4A563FD0-76BE-9508-3FE9-94E3D0D492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Text Placeholder 3">
            <a:extLst>
              <a:ext uri="{FF2B5EF4-FFF2-40B4-BE49-F238E27FC236}">
                <a16:creationId xmlns:a16="http://schemas.microsoft.com/office/drawing/2014/main" id="{25BD77EB-C395-A8A3-EFBD-15C4AA33638A}"/>
              </a:ext>
            </a:extLst>
          </p:cNvPr>
          <p:cNvSpPr>
            <a:spLocks noGrp="1"/>
          </p:cNvSpPr>
          <p:nvPr>
            <p:ph type="body" sz="quarter" idx="10"/>
          </p:nvPr>
        </p:nvSpPr>
        <p:spPr>
          <a:xfrm>
            <a:off x="685801" y="1342095"/>
            <a:ext cx="5181600" cy="4514850"/>
          </a:xfrm>
          <a:prstGeom prst="rect">
            <a:avLst/>
          </a:prstGeom>
        </p:spPr>
        <p:txBody>
          <a:bodyPr/>
          <a:lstStyle>
            <a:lvl1pPr>
              <a:buClr>
                <a:srgbClr val="F26752"/>
              </a:buClr>
              <a:defRPr sz="2000">
                <a:solidFill>
                  <a:schemeClr val="bg2">
                    <a:lumMod val="10000"/>
                  </a:schemeClr>
                </a:solidFill>
              </a:defRPr>
            </a:lvl1pPr>
            <a:lvl2pPr marL="685800" indent="-228600">
              <a:buClr>
                <a:srgbClr val="F26752"/>
              </a:buClr>
              <a:buFont typeface="Courier New" panose="02070309020205020404" pitchFamily="49" charset="0"/>
              <a:buChar char="o"/>
              <a:defRPr sz="1800">
                <a:solidFill>
                  <a:schemeClr val="bg2">
                    <a:lumMod val="10000"/>
                  </a:schemeClr>
                </a:solidFill>
              </a:defRPr>
            </a:lvl2pPr>
            <a:lvl3pPr marL="1143000" indent="-228600">
              <a:buClr>
                <a:srgbClr val="F26752"/>
              </a:buClr>
              <a:buFont typeface="Segoe UI" panose="020B0502040204020203" pitchFamily="34" charset="0"/>
              <a:buChar cha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7" name="Title 1">
            <a:extLst>
              <a:ext uri="{FF2B5EF4-FFF2-40B4-BE49-F238E27FC236}">
                <a16:creationId xmlns:a16="http://schemas.microsoft.com/office/drawing/2014/main" id="{588B59E2-A9CF-A95F-6B43-985FB29ED443}"/>
              </a:ext>
            </a:extLst>
          </p:cNvPr>
          <p:cNvSpPr>
            <a:spLocks noGrp="1"/>
          </p:cNvSpPr>
          <p:nvPr>
            <p:ph type="title"/>
          </p:nvPr>
        </p:nvSpPr>
        <p:spPr>
          <a:xfrm>
            <a:off x="685800" y="544606"/>
            <a:ext cx="10820400" cy="665867"/>
          </a:xfrm>
        </p:spPr>
        <p:txBody>
          <a:bodyPr>
            <a:normAutofit/>
          </a:bodyPr>
          <a:lstStyle>
            <a:lvl1pPr>
              <a:defRPr sz="3200" b="1">
                <a:latin typeface="Segoe UI" panose="020B0502040204020203" pitchFamily="34" charset="0"/>
                <a:cs typeface="Segoe UI" panose="020B0502040204020203" pitchFamily="34" charset="0"/>
              </a:defRPr>
            </a:lvl1pPr>
          </a:lstStyle>
          <a:p>
            <a:r>
              <a:rPr lang="en-US" dirty="0"/>
              <a:t>Click to edit Master title style</a:t>
            </a:r>
            <a:endParaRPr lang="en-IN" dirty="0"/>
          </a:p>
        </p:txBody>
      </p:sp>
      <p:sp>
        <p:nvSpPr>
          <p:cNvPr id="18" name="Text Placeholder 3">
            <a:extLst>
              <a:ext uri="{FF2B5EF4-FFF2-40B4-BE49-F238E27FC236}">
                <a16:creationId xmlns:a16="http://schemas.microsoft.com/office/drawing/2014/main" id="{C16BDD85-2670-C834-1570-685BFA331152}"/>
              </a:ext>
            </a:extLst>
          </p:cNvPr>
          <p:cNvSpPr>
            <a:spLocks noGrp="1"/>
          </p:cNvSpPr>
          <p:nvPr>
            <p:ph type="body" sz="quarter" idx="13"/>
          </p:nvPr>
        </p:nvSpPr>
        <p:spPr>
          <a:xfrm>
            <a:off x="6333898" y="1342095"/>
            <a:ext cx="5181600" cy="4514850"/>
          </a:xfrm>
          <a:prstGeom prst="rect">
            <a:avLst/>
          </a:prstGeom>
        </p:spPr>
        <p:txBody>
          <a:bodyPr/>
          <a:lstStyle>
            <a:lvl1pPr>
              <a:buClr>
                <a:srgbClr val="F26752"/>
              </a:buClr>
              <a:defRPr sz="2000">
                <a:solidFill>
                  <a:schemeClr val="bg2">
                    <a:lumMod val="10000"/>
                  </a:schemeClr>
                </a:solidFill>
              </a:defRPr>
            </a:lvl1pPr>
            <a:lvl2pPr marL="685800" indent="-228600">
              <a:buClr>
                <a:srgbClr val="F26752"/>
              </a:buClr>
              <a:buFont typeface="Courier New" panose="02070309020205020404" pitchFamily="49" charset="0"/>
              <a:buChar char="o"/>
              <a:defRPr sz="1800">
                <a:solidFill>
                  <a:schemeClr val="bg2">
                    <a:lumMod val="10000"/>
                  </a:schemeClr>
                </a:solidFill>
              </a:defRPr>
            </a:lvl2pPr>
            <a:lvl3pPr marL="1143000" indent="-228600">
              <a:buClr>
                <a:srgbClr val="F26752"/>
              </a:buClr>
              <a:buFont typeface="Segoe UI" panose="020B0502040204020203" pitchFamily="34" charset="0"/>
              <a:buChar cha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0" name="Rectangle 9">
            <a:extLst>
              <a:ext uri="{FF2B5EF4-FFF2-40B4-BE49-F238E27FC236}">
                <a16:creationId xmlns:a16="http://schemas.microsoft.com/office/drawing/2014/main" id="{88631FF9-7597-5BEB-3455-F9BEE70D9683}"/>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58581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 + Imag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DAD774-DB30-D585-E48E-2D2CDDE43DCF}"/>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0096BB3D-1A40-0BEC-B72C-46849337B851}"/>
              </a:ext>
            </a:extLst>
          </p:cNvPr>
          <p:cNvSpPr>
            <a:spLocks noGrp="1"/>
          </p:cNvSpPr>
          <p:nvPr>
            <p:ph type="title" hasCustomPrompt="1"/>
          </p:nvPr>
        </p:nvSpPr>
        <p:spPr>
          <a:xfrm>
            <a:off x="766763" y="2705876"/>
            <a:ext cx="10658475" cy="1036260"/>
          </a:xfrm>
          <a:prstGeom prst="rect">
            <a:avLst/>
          </a:prstGeom>
        </p:spPr>
        <p:txBody>
          <a:bodyPr lIns="0" anchor="ctr"/>
          <a:lstStyle>
            <a:lvl1pPr algn="l">
              <a:defRPr sz="2800">
                <a:solidFill>
                  <a:schemeClr val="accent2"/>
                </a:solidFill>
              </a:defRPr>
            </a:lvl1pPr>
          </a:lstStyle>
          <a:p>
            <a:r>
              <a:rPr lang="en-GB" dirty="0"/>
              <a:t>Click To Add Text</a:t>
            </a:r>
            <a:endParaRPr lang="en-US" dirty="0"/>
          </a:p>
        </p:txBody>
      </p:sp>
      <p:sp>
        <p:nvSpPr>
          <p:cNvPr id="8" name="Picture Placeholder 17">
            <a:extLst>
              <a:ext uri="{FF2B5EF4-FFF2-40B4-BE49-F238E27FC236}">
                <a16:creationId xmlns:a16="http://schemas.microsoft.com/office/drawing/2014/main" id="{6321A635-EE39-0E8C-6B7D-D62D8FA88418}"/>
              </a:ext>
            </a:extLst>
          </p:cNvPr>
          <p:cNvSpPr>
            <a:spLocks noGrp="1"/>
          </p:cNvSpPr>
          <p:nvPr>
            <p:ph type="pic" sz="quarter" idx="10"/>
          </p:nvPr>
        </p:nvSpPr>
        <p:spPr>
          <a:xfrm>
            <a:off x="0" y="-1"/>
            <a:ext cx="12192000" cy="2705877"/>
          </a:xfrm>
          <a:prstGeom prst="rect">
            <a:avLst/>
          </a:prstGeom>
        </p:spPr>
        <p:txBody>
          <a:bodyPr/>
          <a:lstStyle/>
          <a:p>
            <a:endParaRPr lang="en-US"/>
          </a:p>
        </p:txBody>
      </p:sp>
      <p:sp>
        <p:nvSpPr>
          <p:cNvPr id="9" name="Slide Number Placeholder 5">
            <a:extLst>
              <a:ext uri="{FF2B5EF4-FFF2-40B4-BE49-F238E27FC236}">
                <a16:creationId xmlns:a16="http://schemas.microsoft.com/office/drawing/2014/main" id="{6DF14B20-BDDE-DF87-5A03-AC34CC60A582}"/>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solidFill>
                  <a:srgbClr val="FFFFFF"/>
                </a:solidFill>
              </a:rPr>
              <a:pPr/>
              <a:t>‹#›</a:t>
            </a:fld>
            <a:endParaRPr lang="en-US" sz="1000" dirty="0">
              <a:solidFill>
                <a:srgbClr val="FFFFFF"/>
              </a:solidFill>
            </a:endParaRPr>
          </a:p>
        </p:txBody>
      </p:sp>
      <p:pic>
        <p:nvPicPr>
          <p:cNvPr id="11" name="Picture 10">
            <a:extLst>
              <a:ext uri="{FF2B5EF4-FFF2-40B4-BE49-F238E27FC236}">
                <a16:creationId xmlns:a16="http://schemas.microsoft.com/office/drawing/2014/main" id="{2954A5C7-00DA-FFFB-1826-FE063204CD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3" name="Text Placeholder 3">
            <a:extLst>
              <a:ext uri="{FF2B5EF4-FFF2-40B4-BE49-F238E27FC236}">
                <a16:creationId xmlns:a16="http://schemas.microsoft.com/office/drawing/2014/main" id="{73267F02-CCE3-A629-3F8A-2C4701E1C056}"/>
              </a:ext>
            </a:extLst>
          </p:cNvPr>
          <p:cNvSpPr>
            <a:spLocks noGrp="1"/>
          </p:cNvSpPr>
          <p:nvPr>
            <p:ph type="body" sz="quarter" idx="11"/>
          </p:nvPr>
        </p:nvSpPr>
        <p:spPr>
          <a:xfrm>
            <a:off x="766763" y="3742137"/>
            <a:ext cx="10658475" cy="2114808"/>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6371710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Slide-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A1888F-485B-38D7-058E-D3536170EA52}"/>
              </a:ext>
            </a:extLst>
          </p:cNvPr>
          <p:cNvSpPr/>
          <p:nvPr userDrawn="1"/>
        </p:nvSpPr>
        <p:spPr>
          <a:xfrm>
            <a:off x="0" y="0"/>
            <a:ext cx="6096000" cy="6858000"/>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0" name="Picture Placeholder 9">
            <a:extLst>
              <a:ext uri="{FF2B5EF4-FFF2-40B4-BE49-F238E27FC236}">
                <a16:creationId xmlns:a16="http://schemas.microsoft.com/office/drawing/2014/main" id="{C3F3B1E1-42D0-AFD0-2B00-9272C5AC1B19}"/>
              </a:ext>
            </a:extLst>
          </p:cNvPr>
          <p:cNvSpPr>
            <a:spLocks noGrp="1"/>
          </p:cNvSpPr>
          <p:nvPr>
            <p:ph type="pic" sz="quarter" idx="11" hasCustomPrompt="1"/>
          </p:nvPr>
        </p:nvSpPr>
        <p:spPr>
          <a:xfrm>
            <a:off x="6324602" y="754246"/>
            <a:ext cx="2185987" cy="763587"/>
          </a:xfrm>
        </p:spPr>
        <p:txBody>
          <a:bodyPr anchor="ctr">
            <a:normAutofit/>
          </a:bodyPr>
          <a:lstStyle>
            <a:lvl1pPr marL="0" indent="0" algn="ctr">
              <a:buNone/>
              <a:defRPr sz="2000"/>
            </a:lvl1pPr>
          </a:lstStyle>
          <a:p>
            <a:r>
              <a:rPr lang="en-US" dirty="0"/>
              <a:t>Logo</a:t>
            </a:r>
            <a:endParaRPr lang="en-IN" dirty="0"/>
          </a:p>
        </p:txBody>
      </p:sp>
      <p:sp>
        <p:nvSpPr>
          <p:cNvPr id="12" name="Picture Placeholder 9">
            <a:extLst>
              <a:ext uri="{FF2B5EF4-FFF2-40B4-BE49-F238E27FC236}">
                <a16:creationId xmlns:a16="http://schemas.microsoft.com/office/drawing/2014/main" id="{2902CD48-68D7-59B8-61FD-16255CF913A1}"/>
              </a:ext>
            </a:extLst>
          </p:cNvPr>
          <p:cNvSpPr>
            <a:spLocks noGrp="1"/>
          </p:cNvSpPr>
          <p:nvPr>
            <p:ph type="pic" sz="quarter" idx="12" hasCustomPrompt="1"/>
          </p:nvPr>
        </p:nvSpPr>
        <p:spPr>
          <a:xfrm>
            <a:off x="9320213" y="754246"/>
            <a:ext cx="2185987" cy="763587"/>
          </a:xfrm>
        </p:spPr>
        <p:txBody>
          <a:bodyPr anchor="ctr">
            <a:normAutofit/>
          </a:bodyPr>
          <a:lstStyle>
            <a:lvl1pPr marL="0" indent="0" algn="ctr">
              <a:buNone/>
              <a:defRPr sz="2000"/>
            </a:lvl1pPr>
          </a:lstStyle>
          <a:p>
            <a:r>
              <a:rPr lang="en-US" dirty="0"/>
              <a:t>Logo</a:t>
            </a:r>
            <a:endParaRPr lang="en-IN" dirty="0"/>
          </a:p>
        </p:txBody>
      </p:sp>
      <p:sp>
        <p:nvSpPr>
          <p:cNvPr id="13" name="Picture Placeholder 9">
            <a:extLst>
              <a:ext uri="{FF2B5EF4-FFF2-40B4-BE49-F238E27FC236}">
                <a16:creationId xmlns:a16="http://schemas.microsoft.com/office/drawing/2014/main" id="{8029E5AE-759D-8451-B11E-0FE34E635111}"/>
              </a:ext>
            </a:extLst>
          </p:cNvPr>
          <p:cNvSpPr>
            <a:spLocks noGrp="1"/>
          </p:cNvSpPr>
          <p:nvPr>
            <p:ph type="pic" sz="quarter" idx="13" hasCustomPrompt="1"/>
          </p:nvPr>
        </p:nvSpPr>
        <p:spPr>
          <a:xfrm>
            <a:off x="9042401" y="5223975"/>
            <a:ext cx="2185987" cy="763587"/>
          </a:xfrm>
        </p:spPr>
        <p:txBody>
          <a:bodyPr anchor="ctr">
            <a:normAutofit/>
          </a:bodyPr>
          <a:lstStyle>
            <a:lvl1pPr marL="0" indent="0" algn="ctr">
              <a:buNone/>
              <a:defRPr sz="2000"/>
            </a:lvl1pPr>
          </a:lstStyle>
          <a:p>
            <a:r>
              <a:rPr lang="en-US" dirty="0"/>
              <a:t>Logo</a:t>
            </a:r>
            <a:endParaRPr lang="en-IN" dirty="0"/>
          </a:p>
        </p:txBody>
      </p:sp>
      <p:sp>
        <p:nvSpPr>
          <p:cNvPr id="21" name="Title 1">
            <a:extLst>
              <a:ext uri="{FF2B5EF4-FFF2-40B4-BE49-F238E27FC236}">
                <a16:creationId xmlns:a16="http://schemas.microsoft.com/office/drawing/2014/main" id="{AEAF36BB-F8CB-98F0-7DF6-E269E05AE1DB}"/>
              </a:ext>
            </a:extLst>
          </p:cNvPr>
          <p:cNvSpPr>
            <a:spLocks noGrp="1"/>
          </p:cNvSpPr>
          <p:nvPr>
            <p:ph type="title"/>
          </p:nvPr>
        </p:nvSpPr>
        <p:spPr>
          <a:xfrm>
            <a:off x="6324602" y="2413897"/>
            <a:ext cx="5181600" cy="1304497"/>
          </a:xfrm>
        </p:spPr>
        <p:txBody>
          <a:bodyPr anchor="ctr">
            <a:noAutofit/>
          </a:bodyPr>
          <a:lstStyle>
            <a:lvl1pPr algn="l">
              <a:defRPr sz="4400">
                <a:solidFill>
                  <a:srgbClr val="082567"/>
                </a:solidFill>
              </a:defRPr>
            </a:lvl1pPr>
          </a:lstStyle>
          <a:p>
            <a:r>
              <a:rPr lang="en-US" dirty="0"/>
              <a:t>Click to edit Master title style</a:t>
            </a:r>
            <a:endParaRPr lang="en-IN" dirty="0"/>
          </a:p>
        </p:txBody>
      </p:sp>
      <p:sp>
        <p:nvSpPr>
          <p:cNvPr id="22" name="Text Placeholder 2">
            <a:extLst>
              <a:ext uri="{FF2B5EF4-FFF2-40B4-BE49-F238E27FC236}">
                <a16:creationId xmlns:a16="http://schemas.microsoft.com/office/drawing/2014/main" id="{F883D805-68D6-686D-B01F-A057FBDDCFE0}"/>
              </a:ext>
            </a:extLst>
          </p:cNvPr>
          <p:cNvSpPr>
            <a:spLocks noGrp="1"/>
          </p:cNvSpPr>
          <p:nvPr>
            <p:ph type="body" idx="1"/>
          </p:nvPr>
        </p:nvSpPr>
        <p:spPr>
          <a:xfrm>
            <a:off x="6324602" y="3786574"/>
            <a:ext cx="4975328" cy="541337"/>
          </a:xfrm>
        </p:spPr>
        <p:txBody>
          <a:bodyPr anchor="ctr">
            <a:normAutofit/>
          </a:bodyPr>
          <a:lstStyle>
            <a:lvl1pPr marL="0" indent="0">
              <a:buNone/>
              <a:defRPr sz="2800">
                <a:solidFill>
                  <a:srgbClr val="F2675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2" name="Rectangle 1">
            <a:extLst>
              <a:ext uri="{FF2B5EF4-FFF2-40B4-BE49-F238E27FC236}">
                <a16:creationId xmlns:a16="http://schemas.microsoft.com/office/drawing/2014/main" id="{07BBCE15-FA41-6E41-4936-39D29A45F39A}"/>
              </a:ext>
            </a:extLst>
          </p:cNvPr>
          <p:cNvSpPr/>
          <p:nvPr userDrawn="1"/>
        </p:nvSpPr>
        <p:spPr>
          <a:xfrm>
            <a:off x="264136" y="4437552"/>
            <a:ext cx="2150450" cy="2150450"/>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Segoe UI" panose="020B0502040204020203" pitchFamily="34" charset="0"/>
            </a:endParaRPr>
          </a:p>
        </p:txBody>
      </p:sp>
      <p:sp>
        <p:nvSpPr>
          <p:cNvPr id="6" name="Picture Placeholder 5">
            <a:extLst>
              <a:ext uri="{FF2B5EF4-FFF2-40B4-BE49-F238E27FC236}">
                <a16:creationId xmlns:a16="http://schemas.microsoft.com/office/drawing/2014/main" id="{2C23832A-927B-83FD-0FC7-1F8D0BD6341B}"/>
              </a:ext>
            </a:extLst>
          </p:cNvPr>
          <p:cNvSpPr>
            <a:spLocks noGrp="1"/>
          </p:cNvSpPr>
          <p:nvPr>
            <p:ph type="pic" sz="quarter" idx="10"/>
          </p:nvPr>
        </p:nvSpPr>
        <p:spPr>
          <a:xfrm>
            <a:off x="685800" y="685801"/>
            <a:ext cx="5181600" cy="5486400"/>
          </a:xfrm>
        </p:spPr>
        <p:txBody>
          <a:bodyPr anchor="ctr"/>
          <a:lstStyle>
            <a:lvl1pPr marL="0" indent="0" algn="ctr">
              <a:buNone/>
              <a:defRPr>
                <a:solidFill>
                  <a:schemeClr val="bg1"/>
                </a:solidFill>
              </a:defRPr>
            </a:lvl1pPr>
          </a:lstStyle>
          <a:p>
            <a:endParaRPr lang="en-IN" dirty="0"/>
          </a:p>
        </p:txBody>
      </p:sp>
    </p:spTree>
    <p:extLst>
      <p:ext uri="{BB962C8B-B14F-4D97-AF65-F5344CB8AC3E}">
        <p14:creationId xmlns:p14="http://schemas.microsoft.com/office/powerpoint/2010/main" val="11526870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s &amp;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0DE3B3E-C31A-D638-D92C-06CBA029A8F7}"/>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3" name="Title 1">
            <a:extLst>
              <a:ext uri="{FF2B5EF4-FFF2-40B4-BE49-F238E27FC236}">
                <a16:creationId xmlns:a16="http://schemas.microsoft.com/office/drawing/2014/main" id="{EBDCBAC3-28EB-D613-31A5-5EB789EC099E}"/>
              </a:ext>
            </a:extLst>
          </p:cNvPr>
          <p:cNvSpPr>
            <a:spLocks noGrp="1"/>
          </p:cNvSpPr>
          <p:nvPr>
            <p:ph type="title" hasCustomPrompt="1"/>
          </p:nvPr>
        </p:nvSpPr>
        <p:spPr>
          <a:xfrm>
            <a:off x="690563" y="2705876"/>
            <a:ext cx="10815637" cy="1036260"/>
          </a:xfrm>
          <a:prstGeom prst="rect">
            <a:avLst/>
          </a:prstGeom>
        </p:spPr>
        <p:txBody>
          <a:bodyPr lIns="0" anchor="t">
            <a:normAutofit/>
          </a:bodyPr>
          <a:lstStyle>
            <a:lvl1pPr algn="l">
              <a:defRPr sz="3200">
                <a:solidFill>
                  <a:srgbClr val="082567"/>
                </a:solidFill>
              </a:defRPr>
            </a:lvl1pPr>
          </a:lstStyle>
          <a:p>
            <a:r>
              <a:rPr lang="en-GB" dirty="0"/>
              <a:t>Click to add text</a:t>
            </a:r>
            <a:endParaRPr lang="en-US" dirty="0"/>
          </a:p>
        </p:txBody>
      </p:sp>
      <p:sp>
        <p:nvSpPr>
          <p:cNvPr id="14" name="Picture Placeholder 17">
            <a:extLst>
              <a:ext uri="{FF2B5EF4-FFF2-40B4-BE49-F238E27FC236}">
                <a16:creationId xmlns:a16="http://schemas.microsoft.com/office/drawing/2014/main" id="{F0506D6A-4BC0-771C-700A-DE8335A60C5E}"/>
              </a:ext>
            </a:extLst>
          </p:cNvPr>
          <p:cNvSpPr>
            <a:spLocks noGrp="1"/>
          </p:cNvSpPr>
          <p:nvPr>
            <p:ph type="pic" sz="quarter" idx="10"/>
          </p:nvPr>
        </p:nvSpPr>
        <p:spPr>
          <a:xfrm>
            <a:off x="0" y="-1"/>
            <a:ext cx="12192000" cy="2705877"/>
          </a:xfrm>
          <a:prstGeom prst="rect">
            <a:avLst/>
          </a:prstGeom>
        </p:spPr>
        <p:txBody>
          <a:bodyPr anchor="ctr"/>
          <a:lstStyle>
            <a:lvl1pPr marL="0" indent="0" algn="ctr">
              <a:buNone/>
              <a:defRPr/>
            </a:lvl1pPr>
          </a:lstStyle>
          <a:p>
            <a:endParaRPr lang="en-US"/>
          </a:p>
        </p:txBody>
      </p:sp>
      <p:sp>
        <p:nvSpPr>
          <p:cNvPr id="15" name="Slide Number Placeholder 5">
            <a:extLst>
              <a:ext uri="{FF2B5EF4-FFF2-40B4-BE49-F238E27FC236}">
                <a16:creationId xmlns:a16="http://schemas.microsoft.com/office/drawing/2014/main" id="{3E4D3432-65EB-758B-EE02-B863E0D68228}"/>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solidFill>
                  <a:srgbClr val="FFFFFF"/>
                </a:solidFill>
              </a:rPr>
              <a:pPr/>
              <a:t>‹#›</a:t>
            </a:fld>
            <a:endParaRPr lang="en-US" sz="1000" dirty="0">
              <a:solidFill>
                <a:srgbClr val="FFFFFF"/>
              </a:solidFill>
            </a:endParaRPr>
          </a:p>
        </p:txBody>
      </p:sp>
      <p:pic>
        <p:nvPicPr>
          <p:cNvPr id="16" name="Picture 15">
            <a:extLst>
              <a:ext uri="{FF2B5EF4-FFF2-40B4-BE49-F238E27FC236}">
                <a16:creationId xmlns:a16="http://schemas.microsoft.com/office/drawing/2014/main" id="{FAD658BB-D73A-F9BF-70E2-5CBB97C07CB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7" name="Text Placeholder 3">
            <a:extLst>
              <a:ext uri="{FF2B5EF4-FFF2-40B4-BE49-F238E27FC236}">
                <a16:creationId xmlns:a16="http://schemas.microsoft.com/office/drawing/2014/main" id="{7AA2DA76-6461-DCF5-4BBE-71674C2AFA11}"/>
              </a:ext>
            </a:extLst>
          </p:cNvPr>
          <p:cNvSpPr>
            <a:spLocks noGrp="1"/>
          </p:cNvSpPr>
          <p:nvPr>
            <p:ph type="body" sz="quarter" idx="11"/>
          </p:nvPr>
        </p:nvSpPr>
        <p:spPr>
          <a:xfrm>
            <a:off x="690563" y="3742137"/>
            <a:ext cx="10815637" cy="2114808"/>
          </a:xfrm>
          <a:prstGeom prst="rect">
            <a:avLst/>
          </a:prstGeom>
        </p:spPr>
        <p:txBody>
          <a:bodyPr/>
          <a:lstStyle>
            <a:lvl1pPr>
              <a:buClr>
                <a:srgbClr val="F26752"/>
              </a:buClr>
              <a:defRPr sz="2000">
                <a:solidFill>
                  <a:schemeClr val="bg2">
                    <a:lumMod val="10000"/>
                  </a:schemeClr>
                </a:solidFill>
              </a:defRPr>
            </a:lvl1pPr>
            <a:lvl2pPr>
              <a:buClr>
                <a:srgbClr val="F26752"/>
              </a:buClr>
              <a:defRPr sz="1800">
                <a:solidFill>
                  <a:schemeClr val="bg2">
                    <a:lumMod val="10000"/>
                  </a:schemeClr>
                </a:solidFill>
              </a:defRPr>
            </a:lvl2pPr>
            <a:lvl3pPr>
              <a:buClr>
                <a:srgbClr val="F26752"/>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33259419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BE9B-5A60-450D-F641-B0127C7085D2}"/>
              </a:ext>
            </a:extLst>
          </p:cNvPr>
          <p:cNvSpPr>
            <a:spLocks noGrp="1"/>
          </p:cNvSpPr>
          <p:nvPr>
            <p:ph type="title"/>
          </p:nvPr>
        </p:nvSpPr>
        <p:spPr/>
        <p:txBody>
          <a:bodyPr/>
          <a:lstStyle/>
          <a:p>
            <a:r>
              <a:rPr lang="en-US"/>
              <a:t>Click to edit Master title style</a:t>
            </a:r>
            <a:endParaRPr lang="en-IN"/>
          </a:p>
        </p:txBody>
      </p:sp>
      <p:sp>
        <p:nvSpPr>
          <p:cNvPr id="3" name="Text Placeholder 3">
            <a:extLst>
              <a:ext uri="{FF2B5EF4-FFF2-40B4-BE49-F238E27FC236}">
                <a16:creationId xmlns:a16="http://schemas.microsoft.com/office/drawing/2014/main" id="{969D71AC-F73B-79AD-B852-19EBA16788BA}"/>
              </a:ext>
            </a:extLst>
          </p:cNvPr>
          <p:cNvSpPr>
            <a:spLocks noGrp="1"/>
          </p:cNvSpPr>
          <p:nvPr>
            <p:ph type="body" sz="quarter" idx="10"/>
          </p:nvPr>
        </p:nvSpPr>
        <p:spPr>
          <a:xfrm>
            <a:off x="685801" y="1790503"/>
            <a:ext cx="5410200" cy="4514850"/>
          </a:xfrm>
          <a:prstGeom prst="rect">
            <a:avLst/>
          </a:prstGeom>
        </p:spPr>
        <p:txBody>
          <a:bodyPr/>
          <a:lstStyle>
            <a:lvl1pPr>
              <a:buClr>
                <a:srgbClr val="F26752"/>
              </a:buClr>
              <a:defRPr sz="2000">
                <a:solidFill>
                  <a:schemeClr val="bg2">
                    <a:lumMod val="10000"/>
                  </a:schemeClr>
                </a:solidFill>
              </a:defRPr>
            </a:lvl1pPr>
            <a:lvl2pPr marL="685800" indent="-228600">
              <a:buClr>
                <a:srgbClr val="F26752"/>
              </a:buClr>
              <a:buFont typeface="Courier New" panose="02070309020205020404" pitchFamily="49" charset="0"/>
              <a:buChar char="o"/>
              <a:defRPr sz="1800">
                <a:solidFill>
                  <a:schemeClr val="bg2">
                    <a:lumMod val="10000"/>
                  </a:schemeClr>
                </a:solidFill>
              </a:defRPr>
            </a:lvl2pPr>
            <a:lvl3pPr marL="1143000" indent="-228600">
              <a:buClr>
                <a:srgbClr val="F26752"/>
              </a:buClr>
              <a:buFont typeface="Segoe UI" panose="020B0502040204020203" pitchFamily="34" charset="0"/>
              <a:buChar cha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5" name="Picture Placeholder 4">
            <a:extLst>
              <a:ext uri="{FF2B5EF4-FFF2-40B4-BE49-F238E27FC236}">
                <a16:creationId xmlns:a16="http://schemas.microsoft.com/office/drawing/2014/main" id="{3FA9D426-F84D-53FF-B966-599BCC7E89E8}"/>
              </a:ext>
            </a:extLst>
          </p:cNvPr>
          <p:cNvSpPr>
            <a:spLocks noGrp="1"/>
          </p:cNvSpPr>
          <p:nvPr>
            <p:ph type="pic" sz="quarter" idx="11"/>
          </p:nvPr>
        </p:nvSpPr>
        <p:spPr>
          <a:xfrm>
            <a:off x="6324600" y="1759260"/>
            <a:ext cx="5867400" cy="4546093"/>
          </a:xfrm>
        </p:spPr>
        <p:txBody>
          <a:bodyPr/>
          <a:lstStyle/>
          <a:p>
            <a:endParaRPr lang="en-IN"/>
          </a:p>
        </p:txBody>
      </p:sp>
      <p:sp>
        <p:nvSpPr>
          <p:cNvPr id="6" name="Rectangle 5">
            <a:extLst>
              <a:ext uri="{FF2B5EF4-FFF2-40B4-BE49-F238E27FC236}">
                <a16:creationId xmlns:a16="http://schemas.microsoft.com/office/drawing/2014/main" id="{92EF502C-15D7-4029-6109-18ECE45D55CF}"/>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931AB0E0-4719-80E5-F1CA-72C701378CA7}"/>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8" name="Picture 7">
            <a:extLst>
              <a:ext uri="{FF2B5EF4-FFF2-40B4-BE49-F238E27FC236}">
                <a16:creationId xmlns:a16="http://schemas.microsoft.com/office/drawing/2014/main" id="{C18E3342-438E-8735-B01C-5324811CF53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9" name="Rectangle 8">
            <a:extLst>
              <a:ext uri="{FF2B5EF4-FFF2-40B4-BE49-F238E27FC236}">
                <a16:creationId xmlns:a16="http://schemas.microsoft.com/office/drawing/2014/main" id="{FA66F500-6C80-8247-43AF-9797F56E088D}"/>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30705032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80955-0FD4-6B3F-7845-0CE1CA1E696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C9348289-C2F4-8129-AFAC-3FFAC0C81484}"/>
              </a:ext>
            </a:extLst>
          </p:cNvPr>
          <p:cNvSpPr>
            <a:spLocks noGrp="1"/>
          </p:cNvSpPr>
          <p:nvPr>
            <p:ph type="body" idx="1"/>
          </p:nvPr>
        </p:nvSpPr>
        <p:spPr>
          <a:xfrm>
            <a:off x="831850" y="4589463"/>
            <a:ext cx="10515600" cy="1500187"/>
          </a:xfrm>
        </p:spPr>
        <p:txBody>
          <a:bodyPr/>
          <a:lstStyle>
            <a:lvl1pPr marL="0" indent="0">
              <a:buNone/>
              <a:defRPr sz="2400">
                <a:solidFill>
                  <a:srgbClr val="FF5050"/>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0" name="Slide Number Placeholder 5">
            <a:extLst>
              <a:ext uri="{FF2B5EF4-FFF2-40B4-BE49-F238E27FC236}">
                <a16:creationId xmlns:a16="http://schemas.microsoft.com/office/drawing/2014/main" id="{4A672FCA-0531-0BB2-591F-7CE545146885}"/>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11" name="Rectangle 10">
            <a:extLst>
              <a:ext uri="{FF2B5EF4-FFF2-40B4-BE49-F238E27FC236}">
                <a16:creationId xmlns:a16="http://schemas.microsoft.com/office/drawing/2014/main" id="{46021B8F-8834-95FB-3783-E5746195E5E7}"/>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5A0E482-80BE-4201-C8D1-3D7236FF3E24}"/>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80FE250F-B62A-EFFE-9711-F0BF1C325E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9" name="Rectangle 8">
            <a:extLst>
              <a:ext uri="{FF2B5EF4-FFF2-40B4-BE49-F238E27FC236}">
                <a16:creationId xmlns:a16="http://schemas.microsoft.com/office/drawing/2014/main" id="{F05C28A2-5CA7-037A-3615-DC9D5668C527}"/>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8321883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273AC-3149-6A24-5A16-916C53945FE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BDEBCA27-1ECF-9220-F765-95AFBB2EEAA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7D153DC1-8F3F-D793-E7DF-505911192F9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1" name="Slide Number Placeholder 5">
            <a:extLst>
              <a:ext uri="{FF2B5EF4-FFF2-40B4-BE49-F238E27FC236}">
                <a16:creationId xmlns:a16="http://schemas.microsoft.com/office/drawing/2014/main" id="{9C3A4D07-0618-32E4-6920-33A2772E9244}"/>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12" name="Rectangle 11">
            <a:extLst>
              <a:ext uri="{FF2B5EF4-FFF2-40B4-BE49-F238E27FC236}">
                <a16:creationId xmlns:a16="http://schemas.microsoft.com/office/drawing/2014/main" id="{CB81B172-329E-3B19-1A33-A3CE198CF229}"/>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3" name="Slide Number Placeholder 5">
            <a:extLst>
              <a:ext uri="{FF2B5EF4-FFF2-40B4-BE49-F238E27FC236}">
                <a16:creationId xmlns:a16="http://schemas.microsoft.com/office/drawing/2014/main" id="{D4FFD592-ACE4-5689-62F8-E3220FC65543}"/>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4" name="Picture 13">
            <a:extLst>
              <a:ext uri="{FF2B5EF4-FFF2-40B4-BE49-F238E27FC236}">
                <a16:creationId xmlns:a16="http://schemas.microsoft.com/office/drawing/2014/main" id="{B41B0CC9-F8BA-7D1B-2535-B00714EE2E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0" name="Rectangle 9">
            <a:extLst>
              <a:ext uri="{FF2B5EF4-FFF2-40B4-BE49-F238E27FC236}">
                <a16:creationId xmlns:a16="http://schemas.microsoft.com/office/drawing/2014/main" id="{0E999EB7-ADD5-07EC-ABFD-E1FC8E6AF36C}"/>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5875264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8B451-89CB-48EB-19E0-FC4B0AA36A58}"/>
              </a:ext>
            </a:extLst>
          </p:cNvPr>
          <p:cNvSpPr>
            <a:spLocks noGrp="1"/>
          </p:cNvSpPr>
          <p:nvPr>
            <p:ph type="title"/>
          </p:nvPr>
        </p:nvSpPr>
        <p:spPr>
          <a:xfrm>
            <a:off x="685800" y="365125"/>
            <a:ext cx="10820400" cy="1325563"/>
          </a:xfrm>
        </p:spPr>
        <p:txBody>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47192B05-6716-3323-44ED-CA042C0F8427}"/>
              </a:ext>
            </a:extLst>
          </p:cNvPr>
          <p:cNvSpPr>
            <a:spLocks noGrp="1"/>
          </p:cNvSpPr>
          <p:nvPr>
            <p:ph type="body" idx="1"/>
          </p:nvPr>
        </p:nvSpPr>
        <p:spPr>
          <a:xfrm>
            <a:off x="685800" y="1681163"/>
            <a:ext cx="531177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EC71F01-F49A-FDFE-042D-C9D479596626}"/>
              </a:ext>
            </a:extLst>
          </p:cNvPr>
          <p:cNvSpPr>
            <a:spLocks noGrp="1"/>
          </p:cNvSpPr>
          <p:nvPr>
            <p:ph sz="half" idx="2"/>
          </p:nvPr>
        </p:nvSpPr>
        <p:spPr>
          <a:xfrm>
            <a:off x="685800" y="2505075"/>
            <a:ext cx="531177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2D567B9F-2B6B-DAFE-873A-7E074A8D1930}"/>
              </a:ext>
            </a:extLst>
          </p:cNvPr>
          <p:cNvSpPr>
            <a:spLocks noGrp="1"/>
          </p:cNvSpPr>
          <p:nvPr>
            <p:ph type="body" sz="quarter" idx="3"/>
          </p:nvPr>
        </p:nvSpPr>
        <p:spPr>
          <a:xfrm>
            <a:off x="6172200" y="1681163"/>
            <a:ext cx="5334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1964214-BCD5-C1DE-F8F8-917908A23E23}"/>
              </a:ext>
            </a:extLst>
          </p:cNvPr>
          <p:cNvSpPr>
            <a:spLocks noGrp="1"/>
          </p:cNvSpPr>
          <p:nvPr>
            <p:ph sz="quarter" idx="4"/>
          </p:nvPr>
        </p:nvSpPr>
        <p:spPr>
          <a:xfrm>
            <a:off x="6172200" y="2505075"/>
            <a:ext cx="53340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Slide Number Placeholder 5">
            <a:extLst>
              <a:ext uri="{FF2B5EF4-FFF2-40B4-BE49-F238E27FC236}">
                <a16:creationId xmlns:a16="http://schemas.microsoft.com/office/drawing/2014/main" id="{8757416B-3FD0-F388-DD5A-7AB6611D6539}"/>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11" name="Rectangle 10">
            <a:extLst>
              <a:ext uri="{FF2B5EF4-FFF2-40B4-BE49-F238E27FC236}">
                <a16:creationId xmlns:a16="http://schemas.microsoft.com/office/drawing/2014/main" id="{FF7A2728-ECE6-56AB-2AC0-9700D722091B}"/>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6245F6F6-B059-2AA4-49FA-067562CF4E61}"/>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1F47BA04-8107-4A1F-9950-B7AAC3B5F9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4" name="Rectangle 13">
            <a:extLst>
              <a:ext uri="{FF2B5EF4-FFF2-40B4-BE49-F238E27FC236}">
                <a16:creationId xmlns:a16="http://schemas.microsoft.com/office/drawing/2014/main" id="{32535848-1015-0F16-260A-D3F7F27FA9A5}"/>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9748509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F460B-0BA3-2BE7-AE3B-B2E944AA7213}"/>
              </a:ext>
            </a:extLst>
          </p:cNvPr>
          <p:cNvSpPr>
            <a:spLocks noGrp="1"/>
          </p:cNvSpPr>
          <p:nvPr>
            <p:ph type="title"/>
          </p:nvPr>
        </p:nvSpPr>
        <p:spPr/>
        <p:txBody>
          <a:bodyPr/>
          <a:lstStyle/>
          <a:p>
            <a:r>
              <a:rPr lang="en-US"/>
              <a:t>Click to edit Master title style</a:t>
            </a:r>
            <a:endParaRPr lang="en-IN"/>
          </a:p>
        </p:txBody>
      </p:sp>
      <p:sp>
        <p:nvSpPr>
          <p:cNvPr id="6" name="Slide Number Placeholder 5">
            <a:extLst>
              <a:ext uri="{FF2B5EF4-FFF2-40B4-BE49-F238E27FC236}">
                <a16:creationId xmlns:a16="http://schemas.microsoft.com/office/drawing/2014/main" id="{03C9BE19-5BD9-C708-596D-02EE9F3DD882}"/>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7" name="Rectangle 6">
            <a:extLst>
              <a:ext uri="{FF2B5EF4-FFF2-40B4-BE49-F238E27FC236}">
                <a16:creationId xmlns:a16="http://schemas.microsoft.com/office/drawing/2014/main" id="{CD6C431C-15EC-AC61-01B6-80E0A6C77EA7}"/>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8" name="Slide Number Placeholder 5">
            <a:extLst>
              <a:ext uri="{FF2B5EF4-FFF2-40B4-BE49-F238E27FC236}">
                <a16:creationId xmlns:a16="http://schemas.microsoft.com/office/drawing/2014/main" id="{A6E2B88A-643E-4C5D-78CC-E8776027FB16}"/>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9" name="Picture 8">
            <a:extLst>
              <a:ext uri="{FF2B5EF4-FFF2-40B4-BE49-F238E27FC236}">
                <a16:creationId xmlns:a16="http://schemas.microsoft.com/office/drawing/2014/main" id="{1B0C15E2-F244-4715-EDEB-331F501C008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0" name="Rectangle 9">
            <a:extLst>
              <a:ext uri="{FF2B5EF4-FFF2-40B4-BE49-F238E27FC236}">
                <a16:creationId xmlns:a16="http://schemas.microsoft.com/office/drawing/2014/main" id="{F69AAD22-02D4-693D-7A2B-A828445F5F94}"/>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7835470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Slide-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046A94C-C0A5-5502-0454-D13448424DC1}"/>
              </a:ext>
            </a:extLst>
          </p:cNvPr>
          <p:cNvSpPr/>
          <p:nvPr userDrawn="1"/>
        </p:nvSpPr>
        <p:spPr>
          <a:xfrm>
            <a:off x="0" y="0"/>
            <a:ext cx="6984124" cy="4945579"/>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5" name="Picture Placeholder 5">
            <a:extLst>
              <a:ext uri="{FF2B5EF4-FFF2-40B4-BE49-F238E27FC236}">
                <a16:creationId xmlns:a16="http://schemas.microsoft.com/office/drawing/2014/main" id="{1E82E8A5-E63A-38C5-9557-596B6CE45097}"/>
              </a:ext>
            </a:extLst>
          </p:cNvPr>
          <p:cNvSpPr>
            <a:spLocks noGrp="1"/>
          </p:cNvSpPr>
          <p:nvPr>
            <p:ph type="pic" sz="quarter" idx="10"/>
          </p:nvPr>
        </p:nvSpPr>
        <p:spPr>
          <a:xfrm>
            <a:off x="6984124" y="0"/>
            <a:ext cx="5207876" cy="6858000"/>
          </a:xfrm>
        </p:spPr>
        <p:txBody>
          <a:bodyPr anchor="ctr"/>
          <a:lstStyle>
            <a:lvl1pPr marL="0" indent="0" algn="ctr">
              <a:buNone/>
              <a:defRPr/>
            </a:lvl1pPr>
          </a:lstStyle>
          <a:p>
            <a:endParaRPr lang="en-IN" dirty="0"/>
          </a:p>
        </p:txBody>
      </p:sp>
      <p:sp>
        <p:nvSpPr>
          <p:cNvPr id="28" name="Title 1">
            <a:extLst>
              <a:ext uri="{FF2B5EF4-FFF2-40B4-BE49-F238E27FC236}">
                <a16:creationId xmlns:a16="http://schemas.microsoft.com/office/drawing/2014/main" id="{1A336F8E-CEBA-2BA1-BC8F-7FB6EB2836A5}"/>
              </a:ext>
            </a:extLst>
          </p:cNvPr>
          <p:cNvSpPr>
            <a:spLocks noGrp="1"/>
          </p:cNvSpPr>
          <p:nvPr>
            <p:ph type="title"/>
          </p:nvPr>
        </p:nvSpPr>
        <p:spPr>
          <a:xfrm>
            <a:off x="685800" y="1685207"/>
            <a:ext cx="5638800" cy="1304497"/>
          </a:xfrm>
        </p:spPr>
        <p:txBody>
          <a:bodyPr anchor="ctr">
            <a:noAutofit/>
          </a:bodyPr>
          <a:lstStyle>
            <a:lvl1pPr algn="l">
              <a:defRPr sz="3600">
                <a:solidFill>
                  <a:schemeClr val="bg1"/>
                </a:solidFill>
              </a:defRPr>
            </a:lvl1pPr>
          </a:lstStyle>
          <a:p>
            <a:r>
              <a:rPr lang="en-US" dirty="0"/>
              <a:t>Click to edit Master title style</a:t>
            </a:r>
            <a:endParaRPr lang="en-IN" dirty="0"/>
          </a:p>
        </p:txBody>
      </p:sp>
      <p:sp>
        <p:nvSpPr>
          <p:cNvPr id="29" name="Text Placeholder 2">
            <a:extLst>
              <a:ext uri="{FF2B5EF4-FFF2-40B4-BE49-F238E27FC236}">
                <a16:creationId xmlns:a16="http://schemas.microsoft.com/office/drawing/2014/main" id="{8611C90E-6FFA-E337-46BC-3E6E99DF5404}"/>
              </a:ext>
            </a:extLst>
          </p:cNvPr>
          <p:cNvSpPr>
            <a:spLocks noGrp="1"/>
          </p:cNvSpPr>
          <p:nvPr>
            <p:ph type="body" idx="1"/>
          </p:nvPr>
        </p:nvSpPr>
        <p:spPr>
          <a:xfrm>
            <a:off x="685800" y="3200400"/>
            <a:ext cx="6110656" cy="541337"/>
          </a:xfrm>
        </p:spPr>
        <p:txBody>
          <a:bodyPr tIns="0" rIns="0" bIns="0" anchor="t">
            <a:normAutofit/>
          </a:bodyPr>
          <a:lstStyle>
            <a:lvl1pPr marL="0" indent="0">
              <a:buNone/>
              <a:defRPr sz="2800" b="1">
                <a:solidFill>
                  <a:srgbClr val="F2675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31" name="Text Placeholder 2">
            <a:extLst>
              <a:ext uri="{FF2B5EF4-FFF2-40B4-BE49-F238E27FC236}">
                <a16:creationId xmlns:a16="http://schemas.microsoft.com/office/drawing/2014/main" id="{8A96C7FA-2D66-72EC-ED77-F152A6B3B4F5}"/>
              </a:ext>
            </a:extLst>
          </p:cNvPr>
          <p:cNvSpPr>
            <a:spLocks noGrp="1"/>
          </p:cNvSpPr>
          <p:nvPr>
            <p:ph type="body" idx="11"/>
          </p:nvPr>
        </p:nvSpPr>
        <p:spPr>
          <a:xfrm>
            <a:off x="685800" y="4238922"/>
            <a:ext cx="6110656" cy="541337"/>
          </a:xfrm>
        </p:spPr>
        <p:txBody>
          <a:bodyPr tIns="0" rIns="0" bIns="0" anchor="t">
            <a:normAutofit/>
          </a:bodyPr>
          <a:lstStyle>
            <a:lvl1pPr marL="0" indent="0">
              <a:buNone/>
              <a:defRPr sz="1600" b="0" i="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7102346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Slide-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EBDB9B-E4B1-067C-2A9C-C71646FC4B32}"/>
              </a:ext>
            </a:extLst>
          </p:cNvPr>
          <p:cNvSpPr/>
          <p:nvPr userDrawn="1"/>
        </p:nvSpPr>
        <p:spPr>
          <a:xfrm>
            <a:off x="-2" y="4066976"/>
            <a:ext cx="8694753" cy="2791024"/>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15" name="Picture 14">
            <a:extLst>
              <a:ext uri="{FF2B5EF4-FFF2-40B4-BE49-F238E27FC236}">
                <a16:creationId xmlns:a16="http://schemas.microsoft.com/office/drawing/2014/main" id="{31F17A06-BD33-8DF1-3442-994EAC9942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60532" y="5820113"/>
            <a:ext cx="1042774" cy="441399"/>
          </a:xfrm>
          <a:prstGeom prst="rect">
            <a:avLst/>
          </a:prstGeom>
        </p:spPr>
      </p:pic>
      <p:pic>
        <p:nvPicPr>
          <p:cNvPr id="16" name="Picture 2" descr="Image result for hcm strategists">
            <a:extLst>
              <a:ext uri="{FF2B5EF4-FFF2-40B4-BE49-F238E27FC236}">
                <a16:creationId xmlns:a16="http://schemas.microsoft.com/office/drawing/2014/main" id="{B5EB0F5F-41F5-B844-B02B-A116D88B10D0}"/>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2321" t="18799" r="1590" b="19906"/>
          <a:stretch/>
        </p:blipFill>
        <p:spPr bwMode="auto">
          <a:xfrm>
            <a:off x="10746955" y="5730275"/>
            <a:ext cx="979475" cy="6248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Logo&#10;&#10;Description automatically generated">
            <a:extLst>
              <a:ext uri="{FF2B5EF4-FFF2-40B4-BE49-F238E27FC236}">
                <a16:creationId xmlns:a16="http://schemas.microsoft.com/office/drawing/2014/main" id="{9D9D738E-9568-DC4E-BAC4-D6001FD4947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373989" y="4511043"/>
            <a:ext cx="2138770" cy="951444"/>
          </a:xfrm>
          <a:prstGeom prst="rect">
            <a:avLst/>
          </a:prstGeom>
        </p:spPr>
      </p:pic>
      <p:sp>
        <p:nvSpPr>
          <p:cNvPr id="25" name="TextBox 24">
            <a:extLst>
              <a:ext uri="{FF2B5EF4-FFF2-40B4-BE49-F238E27FC236}">
                <a16:creationId xmlns:a16="http://schemas.microsoft.com/office/drawing/2014/main" id="{BB13B2EF-6D9B-4FF4-78F7-D61749A843EC}"/>
              </a:ext>
            </a:extLst>
          </p:cNvPr>
          <p:cNvSpPr txBox="1"/>
          <p:nvPr userDrawn="1"/>
        </p:nvSpPr>
        <p:spPr>
          <a:xfrm>
            <a:off x="10325501" y="5857678"/>
            <a:ext cx="299258" cy="369332"/>
          </a:xfrm>
          <a:prstGeom prst="rect">
            <a:avLst/>
          </a:prstGeom>
          <a:noFill/>
        </p:spPr>
        <p:txBody>
          <a:bodyPr wrap="square" rtlCol="0">
            <a:spAutoFit/>
          </a:bodyPr>
          <a:lstStyle/>
          <a:p>
            <a:r>
              <a:rPr lang="en-IN" dirty="0">
                <a:solidFill>
                  <a:schemeClr val="tx2"/>
                </a:solidFill>
                <a:latin typeface="Segoe UI" panose="020B0502040204020203" pitchFamily="34" charset="0"/>
                <a:cs typeface="Segoe UI" panose="020B0502040204020203" pitchFamily="34" charset="0"/>
              </a:rPr>
              <a:t>×</a:t>
            </a:r>
            <a:endParaRPr lang="en-US" dirty="0">
              <a:solidFill>
                <a:schemeClr val="tx2"/>
              </a:solidFill>
              <a:latin typeface="Segoe UI" panose="020B0502040204020203" pitchFamily="34" charset="0"/>
              <a:cs typeface="Segoe UI" panose="020B0502040204020203" pitchFamily="34" charset="0"/>
            </a:endParaRPr>
          </a:p>
        </p:txBody>
      </p:sp>
      <p:cxnSp>
        <p:nvCxnSpPr>
          <p:cNvPr id="26" name="Straight Connector 25">
            <a:extLst>
              <a:ext uri="{FF2B5EF4-FFF2-40B4-BE49-F238E27FC236}">
                <a16:creationId xmlns:a16="http://schemas.microsoft.com/office/drawing/2014/main" id="{036FF337-0495-15D8-5072-3DD5D4D69FDA}"/>
              </a:ext>
            </a:extLst>
          </p:cNvPr>
          <p:cNvCxnSpPr>
            <a:cxnSpLocks/>
          </p:cNvCxnSpPr>
          <p:nvPr userDrawn="1"/>
        </p:nvCxnSpPr>
        <p:spPr>
          <a:xfrm flipH="1">
            <a:off x="9168831" y="5602965"/>
            <a:ext cx="2548507"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itle 1">
            <a:extLst>
              <a:ext uri="{FF2B5EF4-FFF2-40B4-BE49-F238E27FC236}">
                <a16:creationId xmlns:a16="http://schemas.microsoft.com/office/drawing/2014/main" id="{07B4214E-C193-0EC6-165C-64CFE5224D55}"/>
              </a:ext>
            </a:extLst>
          </p:cNvPr>
          <p:cNvSpPr>
            <a:spLocks noGrp="1"/>
          </p:cNvSpPr>
          <p:nvPr>
            <p:ph type="title"/>
          </p:nvPr>
        </p:nvSpPr>
        <p:spPr>
          <a:xfrm>
            <a:off x="685800" y="4343228"/>
            <a:ext cx="7734300" cy="717722"/>
          </a:xfrm>
        </p:spPr>
        <p:txBody>
          <a:bodyPr anchor="t">
            <a:noAutofit/>
          </a:bodyPr>
          <a:lstStyle>
            <a:lvl1pPr algn="l">
              <a:defRPr sz="3200">
                <a:solidFill>
                  <a:schemeClr val="bg1"/>
                </a:solidFill>
              </a:defRPr>
            </a:lvl1pPr>
          </a:lstStyle>
          <a:p>
            <a:r>
              <a:rPr lang="en-US" dirty="0"/>
              <a:t>Click to edit Master title style</a:t>
            </a:r>
            <a:endParaRPr lang="en-IN" dirty="0"/>
          </a:p>
        </p:txBody>
      </p:sp>
      <p:sp>
        <p:nvSpPr>
          <p:cNvPr id="30" name="Text Placeholder 2">
            <a:extLst>
              <a:ext uri="{FF2B5EF4-FFF2-40B4-BE49-F238E27FC236}">
                <a16:creationId xmlns:a16="http://schemas.microsoft.com/office/drawing/2014/main" id="{0A94A027-61FB-29ED-892A-613B6C508849}"/>
              </a:ext>
            </a:extLst>
          </p:cNvPr>
          <p:cNvSpPr>
            <a:spLocks noGrp="1"/>
          </p:cNvSpPr>
          <p:nvPr>
            <p:ph type="body" idx="1"/>
          </p:nvPr>
        </p:nvSpPr>
        <p:spPr>
          <a:xfrm>
            <a:off x="685800" y="5094976"/>
            <a:ext cx="6110656" cy="541337"/>
          </a:xfrm>
        </p:spPr>
        <p:txBody>
          <a:bodyPr tIns="0" rIns="0" bIns="0" anchor="t">
            <a:normAutofit/>
          </a:bodyPr>
          <a:lstStyle>
            <a:lvl1pPr marL="0" indent="0">
              <a:buNone/>
              <a:defRPr sz="2400" b="0">
                <a:solidFill>
                  <a:srgbClr val="F2675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31" name="Text Placeholder 2">
            <a:extLst>
              <a:ext uri="{FF2B5EF4-FFF2-40B4-BE49-F238E27FC236}">
                <a16:creationId xmlns:a16="http://schemas.microsoft.com/office/drawing/2014/main" id="{826AA9D4-E20F-FE20-F567-4735C054F727}"/>
              </a:ext>
            </a:extLst>
          </p:cNvPr>
          <p:cNvSpPr>
            <a:spLocks noGrp="1"/>
          </p:cNvSpPr>
          <p:nvPr>
            <p:ph type="body" idx="11"/>
          </p:nvPr>
        </p:nvSpPr>
        <p:spPr>
          <a:xfrm>
            <a:off x="685800" y="5956341"/>
            <a:ext cx="6110656" cy="541337"/>
          </a:xfrm>
        </p:spPr>
        <p:txBody>
          <a:bodyPr tIns="0" rIns="0" bIns="0" anchor="t">
            <a:normAutofit/>
          </a:bodyPr>
          <a:lstStyle>
            <a:lvl1pPr marL="0" indent="0">
              <a:buNone/>
              <a:defRPr sz="1600" b="0" i="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32" name="Picture Placeholder 5">
            <a:extLst>
              <a:ext uri="{FF2B5EF4-FFF2-40B4-BE49-F238E27FC236}">
                <a16:creationId xmlns:a16="http://schemas.microsoft.com/office/drawing/2014/main" id="{8087524B-B924-868B-0C26-61511D5FCA4C}"/>
              </a:ext>
            </a:extLst>
          </p:cNvPr>
          <p:cNvSpPr>
            <a:spLocks noGrp="1"/>
          </p:cNvSpPr>
          <p:nvPr>
            <p:ph type="pic" sz="quarter" idx="10"/>
          </p:nvPr>
        </p:nvSpPr>
        <p:spPr>
          <a:xfrm>
            <a:off x="-2" y="1"/>
            <a:ext cx="12192000" cy="4032950"/>
          </a:xfrm>
        </p:spPr>
        <p:txBody>
          <a:bodyPr anchor="ctr"/>
          <a:lstStyle>
            <a:lvl1pPr marL="0" indent="0" algn="ctr">
              <a:buNone/>
              <a:defRPr/>
            </a:lvl1pPr>
          </a:lstStyle>
          <a:p>
            <a:endParaRPr lang="en-IN" dirty="0"/>
          </a:p>
        </p:txBody>
      </p:sp>
      <p:cxnSp>
        <p:nvCxnSpPr>
          <p:cNvPr id="20" name="Straight Connector 19">
            <a:extLst>
              <a:ext uri="{FF2B5EF4-FFF2-40B4-BE49-F238E27FC236}">
                <a16:creationId xmlns:a16="http://schemas.microsoft.com/office/drawing/2014/main" id="{0F229268-4782-C90A-BF91-68983B8CE0E9}"/>
              </a:ext>
            </a:extLst>
          </p:cNvPr>
          <p:cNvCxnSpPr/>
          <p:nvPr userDrawn="1"/>
        </p:nvCxnSpPr>
        <p:spPr>
          <a:xfrm>
            <a:off x="0" y="4046202"/>
            <a:ext cx="12192000" cy="0"/>
          </a:xfrm>
          <a:prstGeom prst="line">
            <a:avLst/>
          </a:prstGeom>
          <a:ln w="50800">
            <a:solidFill>
              <a:srgbClr val="F2675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30915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Break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B7B6B4-9F61-35A8-DDEF-36ECE3A7D187}"/>
              </a:ext>
            </a:extLst>
          </p:cNvPr>
          <p:cNvSpPr/>
          <p:nvPr userDrawn="1"/>
        </p:nvSpPr>
        <p:spPr>
          <a:xfrm>
            <a:off x="0" y="0"/>
            <a:ext cx="12192000" cy="6858000"/>
          </a:xfrm>
          <a:prstGeom prst="rect">
            <a:avLst/>
          </a:prstGeom>
          <a:solidFill>
            <a:srgbClr val="08256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Segoe UI" panose="020B0502040204020203" pitchFamily="34" charset="0"/>
            </a:endParaRPr>
          </a:p>
        </p:txBody>
      </p:sp>
      <p:sp>
        <p:nvSpPr>
          <p:cNvPr id="6" name="Text Placeholder 5">
            <a:extLst>
              <a:ext uri="{FF2B5EF4-FFF2-40B4-BE49-F238E27FC236}">
                <a16:creationId xmlns:a16="http://schemas.microsoft.com/office/drawing/2014/main" id="{A6F2E733-6A0A-771C-0292-01BA99078A39}"/>
              </a:ext>
            </a:extLst>
          </p:cNvPr>
          <p:cNvSpPr>
            <a:spLocks noGrp="1"/>
          </p:cNvSpPr>
          <p:nvPr>
            <p:ph type="body" sz="quarter" idx="10" hasCustomPrompt="1"/>
          </p:nvPr>
        </p:nvSpPr>
        <p:spPr>
          <a:xfrm>
            <a:off x="685800" y="4368800"/>
            <a:ext cx="6819900" cy="952500"/>
          </a:xfrm>
        </p:spPr>
        <p:txBody>
          <a:bodyPr>
            <a:normAutofit/>
          </a:bodyPr>
          <a:lstStyle>
            <a:lvl1pPr marL="0" indent="0">
              <a:buNone/>
              <a:defRPr sz="4800" b="1">
                <a:solidFill>
                  <a:schemeClr val="bg1"/>
                </a:solidFill>
              </a:defRPr>
            </a:lvl1pPr>
          </a:lstStyle>
          <a:p>
            <a:pPr lvl="0"/>
            <a:r>
              <a:rPr lang="en-US" dirty="0"/>
              <a:t>Section Breaker</a:t>
            </a:r>
            <a:endParaRPr lang="en-IN" dirty="0"/>
          </a:p>
        </p:txBody>
      </p:sp>
      <p:sp>
        <p:nvSpPr>
          <p:cNvPr id="8" name="Rectangle 7">
            <a:extLst>
              <a:ext uri="{FF2B5EF4-FFF2-40B4-BE49-F238E27FC236}">
                <a16:creationId xmlns:a16="http://schemas.microsoft.com/office/drawing/2014/main" id="{32B12234-3219-86E5-1BF9-873081B887CE}"/>
              </a:ext>
            </a:extLst>
          </p:cNvPr>
          <p:cNvSpPr/>
          <p:nvPr userDrawn="1"/>
        </p:nvSpPr>
        <p:spPr>
          <a:xfrm>
            <a:off x="0" y="5437055"/>
            <a:ext cx="12192000" cy="45719"/>
          </a:xfrm>
          <a:prstGeom prst="rect">
            <a:avLst/>
          </a:prstGeom>
          <a:solidFill>
            <a:srgbClr val="FF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32971880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ingle Content (2)">
    <p:bg>
      <p:bgPr>
        <a:solidFill>
          <a:schemeClr val="accent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A5F781-B11F-3BF1-E89E-2C048C1E409E}"/>
              </a:ext>
            </a:extLst>
          </p:cNvPr>
          <p:cNvSpPr/>
          <p:nvPr userDrawn="1"/>
        </p:nvSpPr>
        <p:spPr>
          <a:xfrm flipV="1">
            <a:off x="0" y="6308724"/>
            <a:ext cx="12192000" cy="549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Placeholder 1">
            <a:extLst>
              <a:ext uri="{FF2B5EF4-FFF2-40B4-BE49-F238E27FC236}">
                <a16:creationId xmlns:a16="http://schemas.microsoft.com/office/drawing/2014/main" id="{41816E5F-2616-DFD0-A878-30D0E7D4652A}"/>
              </a:ext>
            </a:extLst>
          </p:cNvPr>
          <p:cNvSpPr>
            <a:spLocks noGrp="1"/>
          </p:cNvSpPr>
          <p:nvPr>
            <p:ph type="title" hasCustomPrompt="1"/>
          </p:nvPr>
        </p:nvSpPr>
        <p:spPr>
          <a:xfrm>
            <a:off x="766763" y="185737"/>
            <a:ext cx="10658475" cy="903288"/>
          </a:xfrm>
          <a:prstGeom prst="rect">
            <a:avLst/>
          </a:prstGeom>
        </p:spPr>
        <p:txBody>
          <a:bodyPr vert="horz" lIns="0" tIns="0" rIns="0" bIns="0" rtlCol="0" anchor="b">
            <a:normAutofit/>
          </a:bodyPr>
          <a:lstStyle>
            <a:lvl1pPr>
              <a:defRPr sz="2800">
                <a:solidFill>
                  <a:srgbClr val="FFFFFF"/>
                </a:solidFill>
              </a:defRPr>
            </a:lvl1pPr>
          </a:lstStyle>
          <a:p>
            <a:r>
              <a:rPr lang="en-GB" dirty="0"/>
              <a:t>Click To Edit Master Title Style</a:t>
            </a:r>
            <a:endParaRPr lang="en-US" dirty="0"/>
          </a:p>
        </p:txBody>
      </p:sp>
      <p:sp>
        <p:nvSpPr>
          <p:cNvPr id="18" name="Slide Number Placeholder 5">
            <a:extLst>
              <a:ext uri="{FF2B5EF4-FFF2-40B4-BE49-F238E27FC236}">
                <a16:creationId xmlns:a16="http://schemas.microsoft.com/office/drawing/2014/main" id="{D7640E00-6972-1D26-91B7-E3DB4A2C4357}"/>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20" name="Picture 19">
            <a:extLst>
              <a:ext uri="{FF2B5EF4-FFF2-40B4-BE49-F238E27FC236}">
                <a16:creationId xmlns:a16="http://schemas.microsoft.com/office/drawing/2014/main" id="{A8328F8C-3524-D815-B9D5-91A4C44D85E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2" name="Text Placeholder 3">
            <a:extLst>
              <a:ext uri="{FF2B5EF4-FFF2-40B4-BE49-F238E27FC236}">
                <a16:creationId xmlns:a16="http://schemas.microsoft.com/office/drawing/2014/main" id="{41B38B3C-D946-11A6-85B9-9694697267A5}"/>
              </a:ext>
            </a:extLst>
          </p:cNvPr>
          <p:cNvSpPr>
            <a:spLocks noGrp="1"/>
          </p:cNvSpPr>
          <p:nvPr>
            <p:ph type="body" sz="quarter" idx="10"/>
          </p:nvPr>
        </p:nvSpPr>
        <p:spPr>
          <a:xfrm>
            <a:off x="766763" y="1342095"/>
            <a:ext cx="10658475" cy="4514850"/>
          </a:xfrm>
          <a:prstGeom prst="rect">
            <a:avLst/>
          </a:prstGeom>
        </p:spPr>
        <p:txBody>
          <a:bodyPr/>
          <a:lstStyle>
            <a:lvl1pPr>
              <a:defRPr sz="2000">
                <a:solidFill>
                  <a:srgbClr val="FFFFFF"/>
                </a:solidFill>
              </a:defRPr>
            </a:lvl1pPr>
            <a:lvl2pPr>
              <a:defRPr sz="1800">
                <a:solidFill>
                  <a:srgbClr val="FFFFFF"/>
                </a:solidFill>
              </a:defRPr>
            </a:lvl2pPr>
            <a:lvl3pPr>
              <a:defRPr sz="1600">
                <a:solidFill>
                  <a:srgbClr val="FFFFFF"/>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8" name="Rectangle 7">
            <a:extLst>
              <a:ext uri="{FF2B5EF4-FFF2-40B4-BE49-F238E27FC236}">
                <a16:creationId xmlns:a16="http://schemas.microsoft.com/office/drawing/2014/main" id="{6A3B2EFE-DDF4-115E-AF75-89172D42372B}"/>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77485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B17AF-8539-6692-035B-DD2B0751B303}"/>
              </a:ext>
            </a:extLst>
          </p:cNvPr>
          <p:cNvSpPr>
            <a:spLocks noGrp="1"/>
          </p:cNvSpPr>
          <p:nvPr>
            <p:ph type="title"/>
          </p:nvPr>
        </p:nvSpPr>
        <p:spPr>
          <a:xfrm>
            <a:off x="685800" y="685800"/>
            <a:ext cx="4086225" cy="1371600"/>
          </a:xfrm>
        </p:spPr>
        <p:txBody>
          <a:bodyPr anchor="b"/>
          <a:lstStyle>
            <a:lvl1pPr>
              <a:defRPr sz="3200"/>
            </a:lvl1pPr>
          </a:lstStyle>
          <a:p>
            <a:r>
              <a:rPr lang="en-US" dirty="0"/>
              <a:t>Click to edit Master title style</a:t>
            </a:r>
            <a:endParaRPr lang="en-IN" dirty="0"/>
          </a:p>
        </p:txBody>
      </p:sp>
      <p:sp>
        <p:nvSpPr>
          <p:cNvPr id="3" name="Content Placeholder 2">
            <a:extLst>
              <a:ext uri="{FF2B5EF4-FFF2-40B4-BE49-F238E27FC236}">
                <a16:creationId xmlns:a16="http://schemas.microsoft.com/office/drawing/2014/main" id="{0DD11F0A-7FF3-5090-2B49-64C81691A38C}"/>
              </a:ext>
            </a:extLst>
          </p:cNvPr>
          <p:cNvSpPr>
            <a:spLocks noGrp="1"/>
          </p:cNvSpPr>
          <p:nvPr>
            <p:ph idx="1"/>
          </p:nvPr>
        </p:nvSpPr>
        <p:spPr>
          <a:xfrm>
            <a:off x="5183188" y="685801"/>
            <a:ext cx="6323012" cy="51752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Text Placeholder 3">
            <a:extLst>
              <a:ext uri="{FF2B5EF4-FFF2-40B4-BE49-F238E27FC236}">
                <a16:creationId xmlns:a16="http://schemas.microsoft.com/office/drawing/2014/main" id="{13B88649-9F74-E397-69DA-4E572A49D458}"/>
              </a:ext>
            </a:extLst>
          </p:cNvPr>
          <p:cNvSpPr>
            <a:spLocks noGrp="1"/>
          </p:cNvSpPr>
          <p:nvPr>
            <p:ph type="body" sz="half" idx="2"/>
          </p:nvPr>
        </p:nvSpPr>
        <p:spPr>
          <a:xfrm>
            <a:off x="685800" y="2190372"/>
            <a:ext cx="4086225" cy="367861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Slide Number Placeholder 5">
            <a:extLst>
              <a:ext uri="{FF2B5EF4-FFF2-40B4-BE49-F238E27FC236}">
                <a16:creationId xmlns:a16="http://schemas.microsoft.com/office/drawing/2014/main" id="{1594CE85-F15B-AE04-76CD-DADB0AFFEEDD}"/>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6" name="Rectangle 5">
            <a:extLst>
              <a:ext uri="{FF2B5EF4-FFF2-40B4-BE49-F238E27FC236}">
                <a16:creationId xmlns:a16="http://schemas.microsoft.com/office/drawing/2014/main" id="{C9DB3267-3710-B8F8-36CD-B0871CCF557F}"/>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0A6E76C4-74E4-2813-DBD0-D5184716DF01}"/>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8" name="Picture 7">
            <a:extLst>
              <a:ext uri="{FF2B5EF4-FFF2-40B4-BE49-F238E27FC236}">
                <a16:creationId xmlns:a16="http://schemas.microsoft.com/office/drawing/2014/main" id="{E1CAB6BE-2B98-1B2B-0D26-44C11F4F381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Tree>
    <p:extLst>
      <p:ext uri="{BB962C8B-B14F-4D97-AF65-F5344CB8AC3E}">
        <p14:creationId xmlns:p14="http://schemas.microsoft.com/office/powerpoint/2010/main" val="34804884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522EF-9023-7855-4995-668EAE585203}"/>
              </a:ext>
            </a:extLst>
          </p:cNvPr>
          <p:cNvSpPr>
            <a:spLocks noGrp="1"/>
          </p:cNvSpPr>
          <p:nvPr>
            <p:ph type="title"/>
          </p:nvPr>
        </p:nvSpPr>
        <p:spPr>
          <a:xfrm>
            <a:off x="682624" y="685800"/>
            <a:ext cx="4086225" cy="1371600"/>
          </a:xfrm>
        </p:spPr>
        <p:txBody>
          <a:bodyPr anchor="b"/>
          <a:lstStyle>
            <a:lvl1pPr>
              <a:defRPr sz="3200"/>
            </a:lvl1pPr>
          </a:lstStyle>
          <a:p>
            <a:r>
              <a:rPr lang="en-US" dirty="0"/>
              <a:t>Click to edit Master title style</a:t>
            </a:r>
            <a:endParaRPr lang="en-IN" dirty="0"/>
          </a:p>
        </p:txBody>
      </p:sp>
      <p:sp>
        <p:nvSpPr>
          <p:cNvPr id="3" name="Picture Placeholder 2">
            <a:extLst>
              <a:ext uri="{FF2B5EF4-FFF2-40B4-BE49-F238E27FC236}">
                <a16:creationId xmlns:a16="http://schemas.microsoft.com/office/drawing/2014/main" id="{3CD433BA-FB29-5681-21A0-232722D357AC}"/>
              </a:ext>
            </a:extLst>
          </p:cNvPr>
          <p:cNvSpPr>
            <a:spLocks noGrp="1"/>
          </p:cNvSpPr>
          <p:nvPr>
            <p:ph type="pic" idx="1"/>
          </p:nvPr>
        </p:nvSpPr>
        <p:spPr>
          <a:xfrm>
            <a:off x="5183188" y="685801"/>
            <a:ext cx="6323012" cy="5175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2B0D7675-B8C2-DC35-88D7-30E83BB93010}"/>
              </a:ext>
            </a:extLst>
          </p:cNvPr>
          <p:cNvSpPr>
            <a:spLocks noGrp="1"/>
          </p:cNvSpPr>
          <p:nvPr>
            <p:ph type="body" sz="half" idx="2"/>
          </p:nvPr>
        </p:nvSpPr>
        <p:spPr>
          <a:xfrm>
            <a:off x="685800" y="2190372"/>
            <a:ext cx="4086225" cy="367861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Slide Number Placeholder 5">
            <a:extLst>
              <a:ext uri="{FF2B5EF4-FFF2-40B4-BE49-F238E27FC236}">
                <a16:creationId xmlns:a16="http://schemas.microsoft.com/office/drawing/2014/main" id="{A91A6544-8A3C-735A-A74C-12FD7D337F04}"/>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6" name="Rectangle 5">
            <a:extLst>
              <a:ext uri="{FF2B5EF4-FFF2-40B4-BE49-F238E27FC236}">
                <a16:creationId xmlns:a16="http://schemas.microsoft.com/office/drawing/2014/main" id="{4765AC74-C687-AB10-805C-5778E574103C}"/>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84AAF6A0-2185-8C9F-85ED-64FBE3DF334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8" name="Picture 7">
            <a:extLst>
              <a:ext uri="{FF2B5EF4-FFF2-40B4-BE49-F238E27FC236}">
                <a16:creationId xmlns:a16="http://schemas.microsoft.com/office/drawing/2014/main" id="{BE9169C0-531A-B35D-294F-2E88F9B1B6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Tree>
    <p:extLst>
      <p:ext uri="{BB962C8B-B14F-4D97-AF65-F5344CB8AC3E}">
        <p14:creationId xmlns:p14="http://schemas.microsoft.com/office/powerpoint/2010/main" val="1604540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4BF17D-AB10-F2EA-FC39-2AE08F15D8F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36C1805C-9C02-8B92-7793-D7463435C77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2" name="Slide Number Placeholder 5">
            <a:extLst>
              <a:ext uri="{FF2B5EF4-FFF2-40B4-BE49-F238E27FC236}">
                <a16:creationId xmlns:a16="http://schemas.microsoft.com/office/drawing/2014/main" id="{0F65D067-FF03-F634-34BA-51439482BCC0}"/>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13" name="Rectangle 12">
            <a:extLst>
              <a:ext uri="{FF2B5EF4-FFF2-40B4-BE49-F238E27FC236}">
                <a16:creationId xmlns:a16="http://schemas.microsoft.com/office/drawing/2014/main" id="{8A3D0FE2-5A11-094C-B310-FF0F2D8B5C72}"/>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4" name="Slide Number Placeholder 5">
            <a:extLst>
              <a:ext uri="{FF2B5EF4-FFF2-40B4-BE49-F238E27FC236}">
                <a16:creationId xmlns:a16="http://schemas.microsoft.com/office/drawing/2014/main" id="{AE5E3351-BA63-5EED-D869-026D8DB00939}"/>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5" name="Picture 14">
            <a:extLst>
              <a:ext uri="{FF2B5EF4-FFF2-40B4-BE49-F238E27FC236}">
                <a16:creationId xmlns:a16="http://schemas.microsoft.com/office/drawing/2014/main" id="{3BF33084-F600-1492-5E50-E217F759910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6" name="Rectangle 15">
            <a:extLst>
              <a:ext uri="{FF2B5EF4-FFF2-40B4-BE49-F238E27FC236}">
                <a16:creationId xmlns:a16="http://schemas.microsoft.com/office/drawing/2014/main" id="{9AD3084B-2BA1-138E-DE6B-227997633C4E}"/>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27073720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Break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B7B6B4-9F61-35A8-DDEF-36ECE3A7D187}"/>
              </a:ext>
            </a:extLst>
          </p:cNvPr>
          <p:cNvSpPr/>
          <p:nvPr userDrawn="1"/>
        </p:nvSpPr>
        <p:spPr>
          <a:xfrm>
            <a:off x="0" y="0"/>
            <a:ext cx="12192000" cy="6858000"/>
          </a:xfrm>
          <a:prstGeom prst="rect">
            <a:avLst/>
          </a:prstGeom>
          <a:solidFill>
            <a:srgbClr val="08256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Segoe UI" panose="020B0502040204020203" pitchFamily="34" charset="0"/>
            </a:endParaRPr>
          </a:p>
        </p:txBody>
      </p:sp>
      <p:sp>
        <p:nvSpPr>
          <p:cNvPr id="3" name="Picture Placeholder 2">
            <a:extLst>
              <a:ext uri="{FF2B5EF4-FFF2-40B4-BE49-F238E27FC236}">
                <a16:creationId xmlns:a16="http://schemas.microsoft.com/office/drawing/2014/main" id="{C074888D-E423-D988-02F3-4BD736CE11A1}"/>
              </a:ext>
            </a:extLst>
          </p:cNvPr>
          <p:cNvSpPr>
            <a:spLocks noGrp="1"/>
          </p:cNvSpPr>
          <p:nvPr>
            <p:ph type="pic" sz="quarter" idx="11"/>
          </p:nvPr>
        </p:nvSpPr>
        <p:spPr>
          <a:xfrm>
            <a:off x="6324599" y="0"/>
            <a:ext cx="5867401" cy="6858000"/>
          </a:xfrm>
        </p:spPr>
        <p:txBody>
          <a:bodyPr anchor="ctr"/>
          <a:lstStyle>
            <a:lvl1pPr marL="0" indent="0" algn="ctr">
              <a:buNone/>
              <a:defRPr>
                <a:solidFill>
                  <a:schemeClr val="bg1"/>
                </a:solidFill>
              </a:defRPr>
            </a:lvl1pPr>
          </a:lstStyle>
          <a:p>
            <a:endParaRPr lang="en-IN" dirty="0"/>
          </a:p>
        </p:txBody>
      </p:sp>
      <p:sp>
        <p:nvSpPr>
          <p:cNvPr id="6" name="Text Placeholder 5">
            <a:extLst>
              <a:ext uri="{FF2B5EF4-FFF2-40B4-BE49-F238E27FC236}">
                <a16:creationId xmlns:a16="http://schemas.microsoft.com/office/drawing/2014/main" id="{A6F2E733-6A0A-771C-0292-01BA99078A39}"/>
              </a:ext>
            </a:extLst>
          </p:cNvPr>
          <p:cNvSpPr>
            <a:spLocks noGrp="1"/>
          </p:cNvSpPr>
          <p:nvPr>
            <p:ph type="body" sz="quarter" idx="10" hasCustomPrompt="1"/>
          </p:nvPr>
        </p:nvSpPr>
        <p:spPr>
          <a:xfrm>
            <a:off x="685800" y="3657600"/>
            <a:ext cx="5181600" cy="1841500"/>
          </a:xfrm>
        </p:spPr>
        <p:txBody>
          <a:bodyPr>
            <a:normAutofit/>
          </a:bodyPr>
          <a:lstStyle>
            <a:lvl1pPr marL="0" indent="0">
              <a:buNone/>
              <a:defRPr sz="4000" b="1">
                <a:solidFill>
                  <a:schemeClr val="bg1"/>
                </a:solidFill>
              </a:defRPr>
            </a:lvl1pPr>
          </a:lstStyle>
          <a:p>
            <a:pPr lvl="0"/>
            <a:r>
              <a:rPr lang="en-US" dirty="0"/>
              <a:t>Section Breaker</a:t>
            </a:r>
            <a:endParaRPr lang="en-IN" dirty="0"/>
          </a:p>
        </p:txBody>
      </p:sp>
      <p:sp>
        <p:nvSpPr>
          <p:cNvPr id="8" name="Rectangle 7">
            <a:extLst>
              <a:ext uri="{FF2B5EF4-FFF2-40B4-BE49-F238E27FC236}">
                <a16:creationId xmlns:a16="http://schemas.microsoft.com/office/drawing/2014/main" id="{32B12234-3219-86E5-1BF9-873081B887CE}"/>
              </a:ext>
            </a:extLst>
          </p:cNvPr>
          <p:cNvSpPr/>
          <p:nvPr userDrawn="1"/>
        </p:nvSpPr>
        <p:spPr>
          <a:xfrm>
            <a:off x="0" y="3360605"/>
            <a:ext cx="5867400" cy="68395"/>
          </a:xfrm>
          <a:prstGeom prst="rect">
            <a:avLst/>
          </a:prstGeom>
          <a:solidFill>
            <a:srgbClr val="FF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3579945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46B1BF-108C-58F6-51BA-679DA261F26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05468CB9-6D8E-705A-B1AF-D8C6D10316D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Slide Number Placeholder 5">
            <a:extLst>
              <a:ext uri="{FF2B5EF4-FFF2-40B4-BE49-F238E27FC236}">
                <a16:creationId xmlns:a16="http://schemas.microsoft.com/office/drawing/2014/main" id="{657D56AF-A00F-795C-B759-9A3CB8A039CA}"/>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8" name="Rectangle 7">
            <a:extLst>
              <a:ext uri="{FF2B5EF4-FFF2-40B4-BE49-F238E27FC236}">
                <a16:creationId xmlns:a16="http://schemas.microsoft.com/office/drawing/2014/main" id="{FE79649D-2167-7C56-4A86-6BB490402B12}"/>
              </a:ext>
            </a:extLst>
          </p:cNvPr>
          <p:cNvSpPr/>
          <p:nvPr userDrawn="1"/>
        </p:nvSpPr>
        <p:spPr>
          <a:xfrm>
            <a:off x="0" y="6308724"/>
            <a:ext cx="12192000" cy="549277"/>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9" name="Slide Number Placeholder 5">
            <a:extLst>
              <a:ext uri="{FF2B5EF4-FFF2-40B4-BE49-F238E27FC236}">
                <a16:creationId xmlns:a16="http://schemas.microsoft.com/office/drawing/2014/main" id="{AD5110BA-6483-C69D-2DD8-5192A9880F93}"/>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0" name="Picture 9">
            <a:extLst>
              <a:ext uri="{FF2B5EF4-FFF2-40B4-BE49-F238E27FC236}">
                <a16:creationId xmlns:a16="http://schemas.microsoft.com/office/drawing/2014/main" id="{80F94031-5AB6-49C5-3EC8-86257D82DAD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1" name="Rectangle 10">
            <a:extLst>
              <a:ext uri="{FF2B5EF4-FFF2-40B4-BE49-F238E27FC236}">
                <a16:creationId xmlns:a16="http://schemas.microsoft.com/office/drawing/2014/main" id="{E40F8E08-7B61-82D1-8A98-E8B7543A8245}"/>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1911979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20D93AF-1A3E-D4CF-3450-1FA94B8F8E9C}"/>
              </a:ext>
            </a:extLst>
          </p:cNvPr>
          <p:cNvSpPr/>
          <p:nvPr userDrawn="1"/>
        </p:nvSpPr>
        <p:spPr>
          <a:xfrm>
            <a:off x="-1" y="4953000"/>
            <a:ext cx="2276471" cy="1905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egoe UI" panose="020B0502040204020203" pitchFamily="34" charset="0"/>
            </a:endParaRPr>
          </a:p>
        </p:txBody>
      </p:sp>
      <p:sp>
        <p:nvSpPr>
          <p:cNvPr id="4" name="Rectangle 3">
            <a:extLst>
              <a:ext uri="{FF2B5EF4-FFF2-40B4-BE49-F238E27FC236}">
                <a16:creationId xmlns:a16="http://schemas.microsoft.com/office/drawing/2014/main" id="{119DAE94-0055-0826-CE91-F6E4FE04B65A}"/>
              </a:ext>
            </a:extLst>
          </p:cNvPr>
          <p:cNvSpPr/>
          <p:nvPr userDrawn="1"/>
        </p:nvSpPr>
        <p:spPr>
          <a:xfrm>
            <a:off x="-1" y="0"/>
            <a:ext cx="7187621" cy="4953000"/>
          </a:xfrm>
          <a:prstGeom prst="rect">
            <a:avLst/>
          </a:prstGeom>
          <a:solidFill>
            <a:srgbClr val="0825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6" name="Picture Placeholder 5">
            <a:extLst>
              <a:ext uri="{FF2B5EF4-FFF2-40B4-BE49-F238E27FC236}">
                <a16:creationId xmlns:a16="http://schemas.microsoft.com/office/drawing/2014/main" id="{7835DB40-C0DE-8D62-B9D9-FB7D8E0D0A5B}"/>
              </a:ext>
            </a:extLst>
          </p:cNvPr>
          <p:cNvSpPr>
            <a:spLocks noGrp="1"/>
          </p:cNvSpPr>
          <p:nvPr>
            <p:ph type="pic" sz="quarter" idx="10"/>
          </p:nvPr>
        </p:nvSpPr>
        <p:spPr>
          <a:xfrm>
            <a:off x="7188200" y="0"/>
            <a:ext cx="5003800" cy="6858000"/>
          </a:xfrm>
          <a:prstGeom prst="rect">
            <a:avLst/>
          </a:prstGeom>
        </p:spPr>
        <p:txBody>
          <a:bodyPr anchor="ctr"/>
          <a:lstStyle>
            <a:lvl1pPr marL="0" indent="0" algn="ctr">
              <a:buNone/>
              <a:defRPr/>
            </a:lvl1pPr>
          </a:lstStyle>
          <a:p>
            <a:endParaRPr lang="en-GB" dirty="0"/>
          </a:p>
        </p:txBody>
      </p:sp>
      <p:sp>
        <p:nvSpPr>
          <p:cNvPr id="8" name="Picture Placeholder 7">
            <a:extLst>
              <a:ext uri="{FF2B5EF4-FFF2-40B4-BE49-F238E27FC236}">
                <a16:creationId xmlns:a16="http://schemas.microsoft.com/office/drawing/2014/main" id="{888E02E3-D79E-2352-1E2E-770CD74AB3E4}"/>
              </a:ext>
            </a:extLst>
          </p:cNvPr>
          <p:cNvSpPr>
            <a:spLocks noGrp="1"/>
          </p:cNvSpPr>
          <p:nvPr>
            <p:ph type="pic" sz="quarter" idx="11" hasCustomPrompt="1"/>
          </p:nvPr>
        </p:nvSpPr>
        <p:spPr>
          <a:xfrm>
            <a:off x="285750" y="5334000"/>
            <a:ext cx="1724025" cy="1095375"/>
          </a:xfrm>
          <a:prstGeom prst="rect">
            <a:avLst/>
          </a:prstGeom>
        </p:spPr>
        <p:txBody>
          <a:bodyPr anchor="ctr"/>
          <a:lstStyle>
            <a:lvl1pPr marL="0" indent="0" algn="ctr">
              <a:buNone/>
              <a:defRPr sz="2000"/>
            </a:lvl1pPr>
          </a:lstStyle>
          <a:p>
            <a:r>
              <a:rPr lang="en-US" dirty="0"/>
              <a:t>Logo</a:t>
            </a:r>
            <a:endParaRPr lang="en-GB" dirty="0"/>
          </a:p>
        </p:txBody>
      </p:sp>
      <p:sp>
        <p:nvSpPr>
          <p:cNvPr id="10" name="Picture Placeholder 7">
            <a:extLst>
              <a:ext uri="{FF2B5EF4-FFF2-40B4-BE49-F238E27FC236}">
                <a16:creationId xmlns:a16="http://schemas.microsoft.com/office/drawing/2014/main" id="{8CBFCA74-6538-C3BE-F164-65004B9D785E}"/>
              </a:ext>
            </a:extLst>
          </p:cNvPr>
          <p:cNvSpPr>
            <a:spLocks noGrp="1"/>
          </p:cNvSpPr>
          <p:nvPr>
            <p:ph type="pic" sz="quarter" idx="12" hasCustomPrompt="1"/>
          </p:nvPr>
        </p:nvSpPr>
        <p:spPr>
          <a:xfrm>
            <a:off x="2731796" y="5334000"/>
            <a:ext cx="1724025" cy="1095375"/>
          </a:xfrm>
          <a:prstGeom prst="rect">
            <a:avLst/>
          </a:prstGeom>
        </p:spPr>
        <p:txBody>
          <a:bodyPr anchor="ctr"/>
          <a:lstStyle>
            <a:lvl1pPr marL="0" indent="0" algn="ctr">
              <a:buNone/>
              <a:defRPr sz="2000"/>
            </a:lvl1pPr>
          </a:lstStyle>
          <a:p>
            <a:r>
              <a:rPr lang="en-US" dirty="0"/>
              <a:t>Logo</a:t>
            </a:r>
            <a:endParaRPr lang="en-GB" dirty="0"/>
          </a:p>
        </p:txBody>
      </p:sp>
      <p:sp>
        <p:nvSpPr>
          <p:cNvPr id="11" name="Picture Placeholder 7">
            <a:extLst>
              <a:ext uri="{FF2B5EF4-FFF2-40B4-BE49-F238E27FC236}">
                <a16:creationId xmlns:a16="http://schemas.microsoft.com/office/drawing/2014/main" id="{128985B6-0D72-1466-74D4-E21E62D4D55F}"/>
              </a:ext>
            </a:extLst>
          </p:cNvPr>
          <p:cNvSpPr>
            <a:spLocks noGrp="1"/>
          </p:cNvSpPr>
          <p:nvPr>
            <p:ph type="pic" sz="quarter" idx="13" hasCustomPrompt="1"/>
          </p:nvPr>
        </p:nvSpPr>
        <p:spPr>
          <a:xfrm>
            <a:off x="4959998" y="5333999"/>
            <a:ext cx="1724025" cy="1095375"/>
          </a:xfrm>
          <a:prstGeom prst="rect">
            <a:avLst/>
          </a:prstGeom>
        </p:spPr>
        <p:txBody>
          <a:bodyPr anchor="ctr"/>
          <a:lstStyle>
            <a:lvl1pPr marL="0" indent="0" algn="ctr">
              <a:buNone/>
              <a:defRPr sz="2000"/>
            </a:lvl1pPr>
          </a:lstStyle>
          <a:p>
            <a:r>
              <a:rPr lang="en-US" dirty="0"/>
              <a:t>Logo</a:t>
            </a:r>
            <a:endParaRPr lang="en-GB" dirty="0"/>
          </a:p>
        </p:txBody>
      </p:sp>
      <p:sp>
        <p:nvSpPr>
          <p:cNvPr id="13" name="Text Placeholder 12">
            <a:extLst>
              <a:ext uri="{FF2B5EF4-FFF2-40B4-BE49-F238E27FC236}">
                <a16:creationId xmlns:a16="http://schemas.microsoft.com/office/drawing/2014/main" id="{B48393AD-5026-C432-95EA-97450B4316A7}"/>
              </a:ext>
            </a:extLst>
          </p:cNvPr>
          <p:cNvSpPr>
            <a:spLocks noGrp="1"/>
          </p:cNvSpPr>
          <p:nvPr>
            <p:ph type="body" sz="quarter" idx="14" hasCustomPrompt="1"/>
          </p:nvPr>
        </p:nvSpPr>
        <p:spPr>
          <a:xfrm>
            <a:off x="766763" y="790575"/>
            <a:ext cx="5595937" cy="1552575"/>
          </a:xfrm>
          <a:prstGeom prst="rect">
            <a:avLst/>
          </a:prstGeom>
        </p:spPr>
        <p:txBody>
          <a:bodyPr anchor="b"/>
          <a:lstStyle>
            <a:lvl1pPr marL="0" indent="0">
              <a:buNone/>
              <a:defRPr sz="3600" b="1">
                <a:solidFill>
                  <a:schemeClr val="bg1"/>
                </a:solidFill>
              </a:defRPr>
            </a:lvl1pPr>
          </a:lstStyle>
          <a:p>
            <a:pPr lvl="0"/>
            <a:r>
              <a:rPr lang="en-US" dirty="0"/>
              <a:t>Click to edit Title</a:t>
            </a:r>
          </a:p>
        </p:txBody>
      </p:sp>
      <p:sp>
        <p:nvSpPr>
          <p:cNvPr id="14" name="Text Placeholder 21">
            <a:extLst>
              <a:ext uri="{FF2B5EF4-FFF2-40B4-BE49-F238E27FC236}">
                <a16:creationId xmlns:a16="http://schemas.microsoft.com/office/drawing/2014/main" id="{6D2E4ABD-1B25-552A-8782-55E8105E6A6C}"/>
              </a:ext>
            </a:extLst>
          </p:cNvPr>
          <p:cNvSpPr>
            <a:spLocks noGrp="1"/>
          </p:cNvSpPr>
          <p:nvPr>
            <p:ph type="body" sz="quarter" idx="15" hasCustomPrompt="1"/>
          </p:nvPr>
        </p:nvSpPr>
        <p:spPr>
          <a:xfrm>
            <a:off x="766763" y="2476500"/>
            <a:ext cx="5595937" cy="1025525"/>
          </a:xfrm>
          <a:prstGeom prst="rect">
            <a:avLst/>
          </a:prstGeom>
        </p:spPr>
        <p:txBody>
          <a:bodyPr/>
          <a:lstStyle>
            <a:lvl1pPr marL="0" indent="0">
              <a:buNone/>
              <a:defRPr sz="2000" b="1">
                <a:solidFill>
                  <a:schemeClr val="accent1"/>
                </a:solidFill>
              </a:defRPr>
            </a:lvl1pPr>
          </a:lstStyle>
          <a:p>
            <a:pPr lvl="0"/>
            <a:r>
              <a:rPr lang="en-US" dirty="0"/>
              <a:t>Click to edit Subtitle</a:t>
            </a:r>
          </a:p>
        </p:txBody>
      </p:sp>
    </p:spTree>
    <p:extLst>
      <p:ext uri="{BB962C8B-B14F-4D97-AF65-F5344CB8AC3E}">
        <p14:creationId xmlns:p14="http://schemas.microsoft.com/office/powerpoint/2010/main" val="28961756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over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F2674A-1254-96D1-EB5F-410185F8B938}"/>
              </a:ext>
            </a:extLst>
          </p:cNvPr>
          <p:cNvSpPr/>
          <p:nvPr userDrawn="1"/>
        </p:nvSpPr>
        <p:spPr>
          <a:xfrm>
            <a:off x="-2" y="4066976"/>
            <a:ext cx="8694753" cy="27910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cxnSp>
        <p:nvCxnSpPr>
          <p:cNvPr id="6" name="Straight Connector 5">
            <a:extLst>
              <a:ext uri="{FF2B5EF4-FFF2-40B4-BE49-F238E27FC236}">
                <a16:creationId xmlns:a16="http://schemas.microsoft.com/office/drawing/2014/main" id="{417A7A22-EA8F-3097-7041-9876D5C2DDDB}"/>
              </a:ext>
            </a:extLst>
          </p:cNvPr>
          <p:cNvCxnSpPr/>
          <p:nvPr userDrawn="1"/>
        </p:nvCxnSpPr>
        <p:spPr>
          <a:xfrm>
            <a:off x="0" y="4046202"/>
            <a:ext cx="121920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9C33C87-247D-FAF1-92A4-F27C62887BAD}"/>
              </a:ext>
            </a:extLst>
          </p:cNvPr>
          <p:cNvSpPr txBox="1"/>
          <p:nvPr userDrawn="1"/>
        </p:nvSpPr>
        <p:spPr>
          <a:xfrm>
            <a:off x="10325501" y="5857678"/>
            <a:ext cx="299258" cy="369332"/>
          </a:xfrm>
          <a:prstGeom prst="rect">
            <a:avLst/>
          </a:prstGeom>
          <a:noFill/>
        </p:spPr>
        <p:txBody>
          <a:bodyPr wrap="square" rtlCol="0">
            <a:spAutoFit/>
          </a:bodyPr>
          <a:lstStyle/>
          <a:p>
            <a:r>
              <a:rPr lang="en-IN" dirty="0">
                <a:solidFill>
                  <a:schemeClr val="tx2"/>
                </a:solidFill>
                <a:latin typeface="Segoe UI" panose="020B0502040204020203" pitchFamily="34" charset="0"/>
                <a:cs typeface="Segoe UI" panose="020B0502040204020203" pitchFamily="34" charset="0"/>
              </a:rPr>
              <a:t>×</a:t>
            </a:r>
            <a:endParaRPr lang="en-US" dirty="0">
              <a:solidFill>
                <a:schemeClr val="tx2"/>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9AFFE04C-C5C0-4BAB-5029-28A613B7127C}"/>
              </a:ext>
            </a:extLst>
          </p:cNvPr>
          <p:cNvCxnSpPr>
            <a:cxnSpLocks/>
          </p:cNvCxnSpPr>
          <p:nvPr userDrawn="1"/>
        </p:nvCxnSpPr>
        <p:spPr>
          <a:xfrm flipH="1">
            <a:off x="9097433" y="5602965"/>
            <a:ext cx="2726267"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863A1B51-5B5D-DD2C-AD66-A4E801AB223E}"/>
              </a:ext>
            </a:extLst>
          </p:cNvPr>
          <p:cNvSpPr>
            <a:spLocks noGrp="1"/>
          </p:cNvSpPr>
          <p:nvPr>
            <p:ph type="pic" sz="quarter" idx="10"/>
          </p:nvPr>
        </p:nvSpPr>
        <p:spPr>
          <a:xfrm>
            <a:off x="0" y="0"/>
            <a:ext cx="12192000" cy="4025900"/>
          </a:xfrm>
          <a:prstGeom prst="rect">
            <a:avLst/>
          </a:prstGeom>
        </p:spPr>
        <p:txBody>
          <a:bodyPr anchor="ctr"/>
          <a:lstStyle>
            <a:lvl1pPr marL="0" indent="0" algn="ctr">
              <a:buNone/>
              <a:defRPr/>
            </a:lvl1pPr>
          </a:lstStyle>
          <a:p>
            <a:endParaRPr lang="en-GB" dirty="0"/>
          </a:p>
        </p:txBody>
      </p:sp>
      <p:sp>
        <p:nvSpPr>
          <p:cNvPr id="16" name="Picture Placeholder 15">
            <a:extLst>
              <a:ext uri="{FF2B5EF4-FFF2-40B4-BE49-F238E27FC236}">
                <a16:creationId xmlns:a16="http://schemas.microsoft.com/office/drawing/2014/main" id="{1D0AD777-F1ED-E54E-D0A5-8699A28978E1}"/>
              </a:ext>
            </a:extLst>
          </p:cNvPr>
          <p:cNvSpPr>
            <a:spLocks noGrp="1"/>
          </p:cNvSpPr>
          <p:nvPr>
            <p:ph type="pic" sz="quarter" idx="11" hasCustomPrompt="1"/>
          </p:nvPr>
        </p:nvSpPr>
        <p:spPr>
          <a:xfrm>
            <a:off x="9374188" y="4487864"/>
            <a:ext cx="2138362" cy="890588"/>
          </a:xfrm>
          <a:prstGeom prst="rect">
            <a:avLst/>
          </a:prstGeom>
        </p:spPr>
        <p:txBody>
          <a:bodyPr anchor="ctr"/>
          <a:lstStyle>
            <a:lvl1pPr marL="0" indent="0" algn="ctr">
              <a:buNone/>
              <a:defRPr sz="1600"/>
            </a:lvl1pPr>
          </a:lstStyle>
          <a:p>
            <a:r>
              <a:rPr lang="en-US" dirty="0"/>
              <a:t>Logo</a:t>
            </a:r>
            <a:endParaRPr lang="en-GB" dirty="0"/>
          </a:p>
        </p:txBody>
      </p:sp>
      <p:sp>
        <p:nvSpPr>
          <p:cNvPr id="17" name="Picture Placeholder 15">
            <a:extLst>
              <a:ext uri="{FF2B5EF4-FFF2-40B4-BE49-F238E27FC236}">
                <a16:creationId xmlns:a16="http://schemas.microsoft.com/office/drawing/2014/main" id="{AC63C1FB-353B-652E-05C8-D5108882B312}"/>
              </a:ext>
            </a:extLst>
          </p:cNvPr>
          <p:cNvSpPr>
            <a:spLocks noGrp="1"/>
          </p:cNvSpPr>
          <p:nvPr>
            <p:ph type="pic" sz="quarter" idx="12" hasCustomPrompt="1"/>
          </p:nvPr>
        </p:nvSpPr>
        <p:spPr>
          <a:xfrm>
            <a:off x="9201624" y="5825978"/>
            <a:ext cx="1123877" cy="468074"/>
          </a:xfrm>
          <a:prstGeom prst="rect">
            <a:avLst/>
          </a:prstGeom>
        </p:spPr>
        <p:txBody>
          <a:bodyPr anchor="ctr"/>
          <a:lstStyle>
            <a:lvl1pPr marL="0" indent="0" algn="ctr">
              <a:buNone/>
              <a:defRPr sz="1600"/>
            </a:lvl1pPr>
          </a:lstStyle>
          <a:p>
            <a:r>
              <a:rPr lang="en-US" dirty="0"/>
              <a:t>Logo</a:t>
            </a:r>
            <a:endParaRPr lang="en-GB" dirty="0"/>
          </a:p>
        </p:txBody>
      </p:sp>
      <p:sp>
        <p:nvSpPr>
          <p:cNvPr id="18" name="Picture Placeholder 15">
            <a:extLst>
              <a:ext uri="{FF2B5EF4-FFF2-40B4-BE49-F238E27FC236}">
                <a16:creationId xmlns:a16="http://schemas.microsoft.com/office/drawing/2014/main" id="{C435D77C-40AB-691E-9658-463A7411EB0C}"/>
              </a:ext>
            </a:extLst>
          </p:cNvPr>
          <p:cNvSpPr>
            <a:spLocks noGrp="1"/>
          </p:cNvSpPr>
          <p:nvPr>
            <p:ph type="pic" sz="quarter" idx="13" hasCustomPrompt="1"/>
          </p:nvPr>
        </p:nvSpPr>
        <p:spPr>
          <a:xfrm>
            <a:off x="10660740" y="5823432"/>
            <a:ext cx="1123877" cy="468074"/>
          </a:xfrm>
          <a:prstGeom prst="rect">
            <a:avLst/>
          </a:prstGeom>
        </p:spPr>
        <p:txBody>
          <a:bodyPr anchor="ctr"/>
          <a:lstStyle>
            <a:lvl1pPr marL="0" indent="0" algn="ctr">
              <a:buNone/>
              <a:defRPr sz="1600"/>
            </a:lvl1pPr>
          </a:lstStyle>
          <a:p>
            <a:r>
              <a:rPr lang="en-US" dirty="0"/>
              <a:t>Logo</a:t>
            </a:r>
            <a:endParaRPr lang="en-GB" dirty="0"/>
          </a:p>
        </p:txBody>
      </p:sp>
      <p:sp>
        <p:nvSpPr>
          <p:cNvPr id="22" name="Text Placeholder 21">
            <a:extLst>
              <a:ext uri="{FF2B5EF4-FFF2-40B4-BE49-F238E27FC236}">
                <a16:creationId xmlns:a16="http://schemas.microsoft.com/office/drawing/2014/main" id="{9FEF952C-51AC-CCA3-5328-34E5AF35698F}"/>
              </a:ext>
            </a:extLst>
          </p:cNvPr>
          <p:cNvSpPr>
            <a:spLocks noGrp="1"/>
          </p:cNvSpPr>
          <p:nvPr>
            <p:ph type="body" sz="quarter" idx="14" hasCustomPrompt="1"/>
          </p:nvPr>
        </p:nvSpPr>
        <p:spPr>
          <a:xfrm>
            <a:off x="766763" y="4352925"/>
            <a:ext cx="6967537" cy="657225"/>
          </a:xfrm>
          <a:prstGeom prst="rect">
            <a:avLst/>
          </a:prstGeom>
        </p:spPr>
        <p:txBody>
          <a:bodyPr anchor="b"/>
          <a:lstStyle>
            <a:lvl1pPr marL="0" indent="0">
              <a:buNone/>
              <a:defRPr sz="3200" b="1">
                <a:solidFill>
                  <a:schemeClr val="bg1"/>
                </a:solidFill>
              </a:defRPr>
            </a:lvl1pPr>
          </a:lstStyle>
          <a:p>
            <a:pPr lvl="0"/>
            <a:r>
              <a:rPr lang="en-US" dirty="0"/>
              <a:t>Click to edit Title</a:t>
            </a:r>
          </a:p>
        </p:txBody>
      </p:sp>
      <p:sp>
        <p:nvSpPr>
          <p:cNvPr id="23" name="Text Placeholder 21">
            <a:extLst>
              <a:ext uri="{FF2B5EF4-FFF2-40B4-BE49-F238E27FC236}">
                <a16:creationId xmlns:a16="http://schemas.microsoft.com/office/drawing/2014/main" id="{2F933BE7-BF73-A899-0EB4-AF04B7F1BEDF}"/>
              </a:ext>
            </a:extLst>
          </p:cNvPr>
          <p:cNvSpPr>
            <a:spLocks noGrp="1"/>
          </p:cNvSpPr>
          <p:nvPr>
            <p:ph type="body" sz="quarter" idx="15" hasCustomPrompt="1"/>
          </p:nvPr>
        </p:nvSpPr>
        <p:spPr>
          <a:xfrm>
            <a:off x="766762" y="5090202"/>
            <a:ext cx="6967537" cy="1025525"/>
          </a:xfrm>
          <a:prstGeom prst="rect">
            <a:avLst/>
          </a:prstGeom>
        </p:spPr>
        <p:txBody>
          <a:bodyPr/>
          <a:lstStyle>
            <a:lvl1pPr marL="0" indent="0">
              <a:buNone/>
              <a:defRPr sz="2000" b="1">
                <a:solidFill>
                  <a:schemeClr val="accent1"/>
                </a:solidFill>
              </a:defRPr>
            </a:lvl1pPr>
          </a:lstStyle>
          <a:p>
            <a:pPr lvl="0"/>
            <a:r>
              <a:rPr lang="en-US" dirty="0"/>
              <a:t>Click to edit Subtitle</a:t>
            </a:r>
          </a:p>
        </p:txBody>
      </p:sp>
    </p:spTree>
    <p:extLst>
      <p:ext uri="{BB962C8B-B14F-4D97-AF65-F5344CB8AC3E}">
        <p14:creationId xmlns:p14="http://schemas.microsoft.com/office/powerpoint/2010/main" val="34388700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lide Break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1"/>
            <a:ext cx="6862764"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latin typeface="Segoe UI" panose="020B0502040204020203" pitchFamily="34" charset="0"/>
            </a:endParaRPr>
          </a:p>
        </p:txBody>
      </p:sp>
      <p:sp>
        <p:nvSpPr>
          <p:cNvPr id="2" name="Title 1"/>
          <p:cNvSpPr>
            <a:spLocks noGrp="1"/>
          </p:cNvSpPr>
          <p:nvPr>
            <p:ph type="title" hasCustomPrompt="1"/>
          </p:nvPr>
        </p:nvSpPr>
        <p:spPr>
          <a:xfrm>
            <a:off x="766763" y="2443503"/>
            <a:ext cx="5329237" cy="989595"/>
          </a:xfrm>
          <a:prstGeom prst="rect">
            <a:avLst/>
          </a:prstGeom>
        </p:spPr>
        <p:txBody>
          <a:bodyPr lIns="0" anchor="ctr"/>
          <a:lstStyle>
            <a:lvl1pPr algn="l">
              <a:defRPr>
                <a:solidFill>
                  <a:srgbClr val="FFFFFF"/>
                </a:solidFill>
                <a:latin typeface="Segoe UI" panose="020B0502040204020203" pitchFamily="34" charset="0"/>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6862764" y="-2"/>
            <a:ext cx="5329236" cy="685800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cxnSp>
        <p:nvCxnSpPr>
          <p:cNvPr id="4" name="Straight Connector 3">
            <a:extLst>
              <a:ext uri="{FF2B5EF4-FFF2-40B4-BE49-F238E27FC236}">
                <a16:creationId xmlns:a16="http://schemas.microsoft.com/office/drawing/2014/main" id="{9252261D-42C0-939A-0448-368AF65D2809}"/>
              </a:ext>
            </a:extLst>
          </p:cNvPr>
          <p:cNvCxnSpPr>
            <a:cxnSpLocks/>
          </p:cNvCxnSpPr>
          <p:nvPr userDrawn="1"/>
        </p:nvCxnSpPr>
        <p:spPr>
          <a:xfrm>
            <a:off x="749508" y="3957403"/>
            <a:ext cx="4721902"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52258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lide Breaker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2758190"/>
            <a:ext cx="12192000" cy="40998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latin typeface="Segoe UI" panose="020B0502040204020203" pitchFamily="34" charset="0"/>
            </a:endParaRPr>
          </a:p>
        </p:txBody>
      </p:sp>
      <p:sp>
        <p:nvSpPr>
          <p:cNvPr id="2" name="Title 1"/>
          <p:cNvSpPr>
            <a:spLocks noGrp="1"/>
          </p:cNvSpPr>
          <p:nvPr>
            <p:ph type="title" hasCustomPrompt="1"/>
          </p:nvPr>
        </p:nvSpPr>
        <p:spPr>
          <a:xfrm>
            <a:off x="766763" y="4002480"/>
            <a:ext cx="5329237" cy="989595"/>
          </a:xfrm>
          <a:prstGeom prst="rect">
            <a:avLst/>
          </a:prstGeom>
        </p:spPr>
        <p:txBody>
          <a:bodyPr lIns="0" anchor="ctr"/>
          <a:lstStyle>
            <a:lvl1pPr algn="l">
              <a:defRPr>
                <a:solidFill>
                  <a:srgbClr val="FFFFFF"/>
                </a:solidFill>
                <a:latin typeface="Segoe UI" panose="020B0502040204020203" pitchFamily="34" charset="0"/>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0" y="-2"/>
            <a:ext cx="12192000" cy="275819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cxnSp>
        <p:nvCxnSpPr>
          <p:cNvPr id="4" name="Straight Connector 3">
            <a:extLst>
              <a:ext uri="{FF2B5EF4-FFF2-40B4-BE49-F238E27FC236}">
                <a16:creationId xmlns:a16="http://schemas.microsoft.com/office/drawing/2014/main" id="{9252261D-42C0-939A-0448-368AF65D2809}"/>
              </a:ext>
            </a:extLst>
          </p:cNvPr>
          <p:cNvCxnSpPr>
            <a:cxnSpLocks/>
          </p:cNvCxnSpPr>
          <p:nvPr userDrawn="1"/>
        </p:nvCxnSpPr>
        <p:spPr>
          <a:xfrm>
            <a:off x="749508" y="5276538"/>
            <a:ext cx="3117954"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57425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 Imag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DAD774-DB30-D585-E48E-2D2CDDE43DCF}"/>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7" name="Title 1">
            <a:extLst>
              <a:ext uri="{FF2B5EF4-FFF2-40B4-BE49-F238E27FC236}">
                <a16:creationId xmlns:a16="http://schemas.microsoft.com/office/drawing/2014/main" id="{0096BB3D-1A40-0BEC-B72C-46849337B851}"/>
              </a:ext>
            </a:extLst>
          </p:cNvPr>
          <p:cNvSpPr>
            <a:spLocks noGrp="1"/>
          </p:cNvSpPr>
          <p:nvPr>
            <p:ph type="title" hasCustomPrompt="1"/>
          </p:nvPr>
        </p:nvSpPr>
        <p:spPr>
          <a:xfrm>
            <a:off x="766763" y="2705876"/>
            <a:ext cx="10658475" cy="1036260"/>
          </a:xfrm>
          <a:prstGeom prst="rect">
            <a:avLst/>
          </a:prstGeom>
        </p:spPr>
        <p:txBody>
          <a:bodyPr lIns="0" anchor="ctr"/>
          <a:lstStyle>
            <a:lvl1pPr algn="l">
              <a:defRPr sz="2800">
                <a:solidFill>
                  <a:schemeClr val="accent2"/>
                </a:solidFill>
                <a:latin typeface="Segoe UI" panose="020B0502040204020203" pitchFamily="34" charset="0"/>
              </a:defRPr>
            </a:lvl1pPr>
          </a:lstStyle>
          <a:p>
            <a:r>
              <a:rPr lang="en-GB" dirty="0"/>
              <a:t>Click To Add Text</a:t>
            </a:r>
            <a:endParaRPr lang="en-US" dirty="0"/>
          </a:p>
        </p:txBody>
      </p:sp>
      <p:sp>
        <p:nvSpPr>
          <p:cNvPr id="8" name="Picture Placeholder 17">
            <a:extLst>
              <a:ext uri="{FF2B5EF4-FFF2-40B4-BE49-F238E27FC236}">
                <a16:creationId xmlns:a16="http://schemas.microsoft.com/office/drawing/2014/main" id="{6321A635-EE39-0E8C-6B7D-D62D8FA88418}"/>
              </a:ext>
            </a:extLst>
          </p:cNvPr>
          <p:cNvSpPr>
            <a:spLocks noGrp="1"/>
          </p:cNvSpPr>
          <p:nvPr>
            <p:ph type="pic" sz="quarter" idx="10"/>
          </p:nvPr>
        </p:nvSpPr>
        <p:spPr>
          <a:xfrm>
            <a:off x="0" y="-1"/>
            <a:ext cx="12192000" cy="2705877"/>
          </a:xfrm>
          <a:prstGeom prst="rect">
            <a:avLst/>
          </a:prstGeom>
        </p:spPr>
        <p:txBody>
          <a:bodyPr/>
          <a:lstStyle/>
          <a:p>
            <a:endParaRPr lang="en-US"/>
          </a:p>
        </p:txBody>
      </p:sp>
      <p:sp>
        <p:nvSpPr>
          <p:cNvPr id="9" name="Slide Number Placeholder 5">
            <a:extLst>
              <a:ext uri="{FF2B5EF4-FFF2-40B4-BE49-F238E27FC236}">
                <a16:creationId xmlns:a16="http://schemas.microsoft.com/office/drawing/2014/main" id="{6DF14B20-BDDE-DF87-5A03-AC34CC60A582}"/>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solidFill>
                  <a:srgbClr val="FFFFFF"/>
                </a:solidFill>
              </a:rPr>
              <a:pPr/>
              <a:t>‹#›</a:t>
            </a:fld>
            <a:endParaRPr lang="en-US" sz="1000" dirty="0">
              <a:solidFill>
                <a:srgbClr val="FFFFFF"/>
              </a:solidFill>
            </a:endParaRPr>
          </a:p>
        </p:txBody>
      </p:sp>
      <p:pic>
        <p:nvPicPr>
          <p:cNvPr id="11" name="Picture 10">
            <a:extLst>
              <a:ext uri="{FF2B5EF4-FFF2-40B4-BE49-F238E27FC236}">
                <a16:creationId xmlns:a16="http://schemas.microsoft.com/office/drawing/2014/main" id="{2954A5C7-00DA-FFFB-1826-FE063204CD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3" name="Text Placeholder 3">
            <a:extLst>
              <a:ext uri="{FF2B5EF4-FFF2-40B4-BE49-F238E27FC236}">
                <a16:creationId xmlns:a16="http://schemas.microsoft.com/office/drawing/2014/main" id="{73267F02-CCE3-A629-3F8A-2C4701E1C056}"/>
              </a:ext>
            </a:extLst>
          </p:cNvPr>
          <p:cNvSpPr>
            <a:spLocks noGrp="1"/>
          </p:cNvSpPr>
          <p:nvPr>
            <p:ph type="body" sz="quarter" idx="11"/>
          </p:nvPr>
        </p:nvSpPr>
        <p:spPr>
          <a:xfrm>
            <a:off x="766763" y="3742137"/>
            <a:ext cx="10658475" cy="2114808"/>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548247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t + Imag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1"/>
            <a:ext cx="6862764"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2" name="Title 1"/>
          <p:cNvSpPr>
            <a:spLocks noGrp="1"/>
          </p:cNvSpPr>
          <p:nvPr>
            <p:ph type="title" hasCustomPrompt="1"/>
          </p:nvPr>
        </p:nvSpPr>
        <p:spPr>
          <a:xfrm>
            <a:off x="766763" y="443253"/>
            <a:ext cx="5329237" cy="989595"/>
          </a:xfrm>
          <a:prstGeom prst="rect">
            <a:avLst/>
          </a:prstGeom>
        </p:spPr>
        <p:txBody>
          <a:bodyPr lIns="0" anchor="ctr"/>
          <a:lstStyle>
            <a:lvl1pPr algn="l">
              <a:defRPr>
                <a:solidFill>
                  <a:srgbClr val="FFFFFF"/>
                </a:solidFill>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6862764" y="-2"/>
            <a:ext cx="5329236" cy="685800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6" name="Text Placeholder 3">
            <a:extLst>
              <a:ext uri="{FF2B5EF4-FFF2-40B4-BE49-F238E27FC236}">
                <a16:creationId xmlns:a16="http://schemas.microsoft.com/office/drawing/2014/main" id="{50FD9A30-2563-28B9-3D4D-21B0B6F06632}"/>
              </a:ext>
            </a:extLst>
          </p:cNvPr>
          <p:cNvSpPr>
            <a:spLocks noGrp="1"/>
          </p:cNvSpPr>
          <p:nvPr>
            <p:ph type="body" sz="quarter" idx="11"/>
          </p:nvPr>
        </p:nvSpPr>
        <p:spPr>
          <a:xfrm>
            <a:off x="766763" y="1432847"/>
            <a:ext cx="5329237" cy="4424097"/>
          </a:xfrm>
          <a:prstGeom prst="rect">
            <a:avLst/>
          </a:prstGeom>
        </p:spPr>
        <p:txBody>
          <a:bodyPr/>
          <a:lstStyle>
            <a:lvl1pPr>
              <a:buClr>
                <a:schemeClr val="accent1"/>
              </a:buClr>
              <a:defRPr sz="2000">
                <a:solidFill>
                  <a:schemeClr val="bg1"/>
                </a:solidFill>
              </a:defRPr>
            </a:lvl1pPr>
            <a:lvl2pPr>
              <a:buClr>
                <a:schemeClr val="accent1"/>
              </a:buClr>
              <a:defRPr sz="1800">
                <a:solidFill>
                  <a:schemeClr val="bg1"/>
                </a:solidFill>
              </a:defRPr>
            </a:lvl2pPr>
            <a:lvl3pPr>
              <a:buClr>
                <a:schemeClr val="accent1"/>
              </a:buClr>
              <a:defRPr sz="1600">
                <a:solidFill>
                  <a:schemeClr val="bg1"/>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36116702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ingle Content (2)">
    <p:bg>
      <p:bgPr>
        <a:solidFill>
          <a:schemeClr val="accent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A5F781-B11F-3BF1-E89E-2C048C1E409E}"/>
              </a:ext>
            </a:extLst>
          </p:cNvPr>
          <p:cNvSpPr/>
          <p:nvPr userDrawn="1"/>
        </p:nvSpPr>
        <p:spPr>
          <a:xfrm flipV="1">
            <a:off x="0" y="6308724"/>
            <a:ext cx="12192000" cy="549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3" name="Title Placeholder 1">
            <a:extLst>
              <a:ext uri="{FF2B5EF4-FFF2-40B4-BE49-F238E27FC236}">
                <a16:creationId xmlns:a16="http://schemas.microsoft.com/office/drawing/2014/main" id="{41816E5F-2616-DFD0-A878-30D0E7D4652A}"/>
              </a:ext>
            </a:extLst>
          </p:cNvPr>
          <p:cNvSpPr>
            <a:spLocks noGrp="1"/>
          </p:cNvSpPr>
          <p:nvPr>
            <p:ph type="title" hasCustomPrompt="1"/>
          </p:nvPr>
        </p:nvSpPr>
        <p:spPr>
          <a:xfrm>
            <a:off x="766763" y="185737"/>
            <a:ext cx="10658475" cy="903288"/>
          </a:xfrm>
          <a:prstGeom prst="rect">
            <a:avLst/>
          </a:prstGeom>
        </p:spPr>
        <p:txBody>
          <a:bodyPr vert="horz" lIns="0" tIns="0" rIns="0" bIns="0" rtlCol="0" anchor="b">
            <a:normAutofit/>
          </a:bodyPr>
          <a:lstStyle>
            <a:lvl1pPr>
              <a:defRPr sz="2800">
                <a:solidFill>
                  <a:srgbClr val="FFFFFF"/>
                </a:solidFill>
                <a:latin typeface="Segoe UI" panose="020B0502040204020203" pitchFamily="34" charset="0"/>
              </a:defRPr>
            </a:lvl1pPr>
          </a:lstStyle>
          <a:p>
            <a:r>
              <a:rPr lang="en-GB" dirty="0"/>
              <a:t>Click To Edit Master Title Style</a:t>
            </a:r>
            <a:endParaRPr lang="en-US" dirty="0"/>
          </a:p>
        </p:txBody>
      </p:sp>
      <p:sp>
        <p:nvSpPr>
          <p:cNvPr id="18" name="Slide Number Placeholder 5">
            <a:extLst>
              <a:ext uri="{FF2B5EF4-FFF2-40B4-BE49-F238E27FC236}">
                <a16:creationId xmlns:a16="http://schemas.microsoft.com/office/drawing/2014/main" id="{D7640E00-6972-1D26-91B7-E3DB4A2C4357}"/>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20" name="Picture 19">
            <a:extLst>
              <a:ext uri="{FF2B5EF4-FFF2-40B4-BE49-F238E27FC236}">
                <a16:creationId xmlns:a16="http://schemas.microsoft.com/office/drawing/2014/main" id="{A8328F8C-3524-D815-B9D5-91A4C44D85E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2" name="Text Placeholder 3">
            <a:extLst>
              <a:ext uri="{FF2B5EF4-FFF2-40B4-BE49-F238E27FC236}">
                <a16:creationId xmlns:a16="http://schemas.microsoft.com/office/drawing/2014/main" id="{41B38B3C-D946-11A6-85B9-9694697267A5}"/>
              </a:ext>
            </a:extLst>
          </p:cNvPr>
          <p:cNvSpPr>
            <a:spLocks noGrp="1"/>
          </p:cNvSpPr>
          <p:nvPr>
            <p:ph type="body" sz="quarter" idx="10"/>
          </p:nvPr>
        </p:nvSpPr>
        <p:spPr>
          <a:xfrm>
            <a:off x="766763" y="1342095"/>
            <a:ext cx="10658475" cy="4514850"/>
          </a:xfrm>
          <a:prstGeom prst="rect">
            <a:avLst/>
          </a:prstGeom>
        </p:spPr>
        <p:txBody>
          <a:bodyPr/>
          <a:lstStyle>
            <a:lvl1pPr>
              <a:defRPr sz="2000">
                <a:solidFill>
                  <a:srgbClr val="FFFFFF"/>
                </a:solidFill>
              </a:defRPr>
            </a:lvl1pPr>
            <a:lvl2pPr>
              <a:defRPr sz="1800">
                <a:solidFill>
                  <a:srgbClr val="FFFFFF"/>
                </a:solidFill>
              </a:defRPr>
            </a:lvl2pPr>
            <a:lvl3pPr>
              <a:defRPr sz="1600">
                <a:solidFill>
                  <a:srgbClr val="FFFFFF"/>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8" name="Rectangle 7">
            <a:extLst>
              <a:ext uri="{FF2B5EF4-FFF2-40B4-BE49-F238E27FC236}">
                <a16:creationId xmlns:a16="http://schemas.microsoft.com/office/drawing/2014/main" id="{6A3B2EFE-DDF4-115E-AF75-89172D42372B}"/>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4143058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ontent + Imag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1"/>
            <a:ext cx="6862764"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latin typeface="Segoe UI" panose="020B0502040204020203" pitchFamily="34" charset="0"/>
            </a:endParaRPr>
          </a:p>
        </p:txBody>
      </p:sp>
      <p:sp>
        <p:nvSpPr>
          <p:cNvPr id="2" name="Title 1"/>
          <p:cNvSpPr>
            <a:spLocks noGrp="1"/>
          </p:cNvSpPr>
          <p:nvPr>
            <p:ph type="title" hasCustomPrompt="1"/>
          </p:nvPr>
        </p:nvSpPr>
        <p:spPr>
          <a:xfrm>
            <a:off x="766763" y="443253"/>
            <a:ext cx="5329237" cy="989595"/>
          </a:xfrm>
          <a:prstGeom prst="rect">
            <a:avLst/>
          </a:prstGeom>
        </p:spPr>
        <p:txBody>
          <a:bodyPr lIns="0" anchor="ctr"/>
          <a:lstStyle>
            <a:lvl1pPr algn="l">
              <a:defRPr>
                <a:solidFill>
                  <a:srgbClr val="FFFFFF"/>
                </a:solidFill>
                <a:latin typeface="Segoe UI" panose="020B0502040204020203" pitchFamily="34" charset="0"/>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6862764" y="-2"/>
            <a:ext cx="5329236" cy="685800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6" name="Text Placeholder 3">
            <a:extLst>
              <a:ext uri="{FF2B5EF4-FFF2-40B4-BE49-F238E27FC236}">
                <a16:creationId xmlns:a16="http://schemas.microsoft.com/office/drawing/2014/main" id="{50FD9A30-2563-28B9-3D4D-21B0B6F06632}"/>
              </a:ext>
            </a:extLst>
          </p:cNvPr>
          <p:cNvSpPr>
            <a:spLocks noGrp="1"/>
          </p:cNvSpPr>
          <p:nvPr>
            <p:ph type="body" sz="quarter" idx="11"/>
          </p:nvPr>
        </p:nvSpPr>
        <p:spPr>
          <a:xfrm>
            <a:off x="766763" y="1432847"/>
            <a:ext cx="5329237" cy="4424097"/>
          </a:xfrm>
          <a:prstGeom prst="rect">
            <a:avLst/>
          </a:prstGeom>
        </p:spPr>
        <p:txBody>
          <a:bodyPr/>
          <a:lstStyle>
            <a:lvl1pPr>
              <a:buClr>
                <a:schemeClr val="accent1"/>
              </a:buClr>
              <a:defRPr sz="2000">
                <a:solidFill>
                  <a:schemeClr val="bg1"/>
                </a:solidFill>
              </a:defRPr>
            </a:lvl1pPr>
            <a:lvl2pPr>
              <a:buClr>
                <a:schemeClr val="accent1"/>
              </a:buClr>
              <a:defRPr sz="1800">
                <a:solidFill>
                  <a:schemeClr val="bg1"/>
                </a:solidFill>
              </a:defRPr>
            </a:lvl2pPr>
            <a:lvl3pPr>
              <a:buClr>
                <a:schemeClr val="accent1"/>
              </a:buClr>
              <a:defRPr sz="1600">
                <a:solidFill>
                  <a:schemeClr val="bg1"/>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13917558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Double side Content ">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F38FDCDA-E94F-5F80-1739-1076B213EFA0}"/>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9" name="Title Placeholder 1">
            <a:extLst>
              <a:ext uri="{FF2B5EF4-FFF2-40B4-BE49-F238E27FC236}">
                <a16:creationId xmlns:a16="http://schemas.microsoft.com/office/drawing/2014/main" id="{24633609-93A2-53EF-5DD4-A2F20CF60C97}"/>
              </a:ext>
            </a:extLst>
          </p:cNvPr>
          <p:cNvSpPr>
            <a:spLocks noGrp="1"/>
          </p:cNvSpPr>
          <p:nvPr>
            <p:ph type="title" hasCustomPrompt="1"/>
          </p:nvPr>
        </p:nvSpPr>
        <p:spPr>
          <a:xfrm>
            <a:off x="571500" y="571500"/>
            <a:ext cx="10658475" cy="549277"/>
          </a:xfrm>
          <a:prstGeom prst="rect">
            <a:avLst/>
          </a:prstGeom>
        </p:spPr>
        <p:txBody>
          <a:bodyPr vert="horz" lIns="0" tIns="0" rIns="0" bIns="0" rtlCol="0" anchor="t">
            <a:normAutofit/>
          </a:bodyPr>
          <a:lstStyle>
            <a:lvl1pPr>
              <a:defRPr sz="3200">
                <a:solidFill>
                  <a:schemeClr val="accent2"/>
                </a:solidFill>
                <a:latin typeface="Segoe UI" panose="020B0502040204020203" pitchFamily="34" charset="0"/>
              </a:defRPr>
            </a:lvl1pPr>
          </a:lstStyle>
          <a:p>
            <a:r>
              <a:rPr lang="en-GB" dirty="0"/>
              <a:t>Click To Edit Master Title Style</a:t>
            </a:r>
            <a:endParaRPr lang="en-US" dirty="0"/>
          </a:p>
        </p:txBody>
      </p:sp>
      <p:sp>
        <p:nvSpPr>
          <p:cNvPr id="10" name="Rectangle 9">
            <a:extLst>
              <a:ext uri="{FF2B5EF4-FFF2-40B4-BE49-F238E27FC236}">
                <a16:creationId xmlns:a16="http://schemas.microsoft.com/office/drawing/2014/main" id="{6CAAD997-7829-8011-41BC-4C8A3406F41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1" name="Slide Number Placeholder 5">
            <a:extLst>
              <a:ext uri="{FF2B5EF4-FFF2-40B4-BE49-F238E27FC236}">
                <a16:creationId xmlns:a16="http://schemas.microsoft.com/office/drawing/2014/main" id="{4F207CD3-FD04-9E29-E649-D7F8717E592D}"/>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660A1290-B9A7-F6AD-C176-9D8D826A85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Text Placeholder 3">
            <a:extLst>
              <a:ext uri="{FF2B5EF4-FFF2-40B4-BE49-F238E27FC236}">
                <a16:creationId xmlns:a16="http://schemas.microsoft.com/office/drawing/2014/main" id="{492E9533-2BA6-CD8A-904E-24DB3A24F8EF}"/>
              </a:ext>
            </a:extLst>
          </p:cNvPr>
          <p:cNvSpPr>
            <a:spLocks noGrp="1"/>
          </p:cNvSpPr>
          <p:nvPr>
            <p:ph type="body" sz="quarter" idx="10"/>
          </p:nvPr>
        </p:nvSpPr>
        <p:spPr>
          <a:xfrm>
            <a:off x="571500" y="1342095"/>
            <a:ext cx="5329237"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6" name="Text Placeholder 3">
            <a:extLst>
              <a:ext uri="{FF2B5EF4-FFF2-40B4-BE49-F238E27FC236}">
                <a16:creationId xmlns:a16="http://schemas.microsoft.com/office/drawing/2014/main" id="{91A4214A-D157-FDFB-51C7-309D097F7D06}"/>
              </a:ext>
            </a:extLst>
          </p:cNvPr>
          <p:cNvSpPr>
            <a:spLocks noGrp="1"/>
          </p:cNvSpPr>
          <p:nvPr>
            <p:ph type="body" sz="quarter" idx="13"/>
          </p:nvPr>
        </p:nvSpPr>
        <p:spPr>
          <a:xfrm>
            <a:off x="6291265" y="1336082"/>
            <a:ext cx="5329237"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2" name="Rectangle 11">
            <a:extLst>
              <a:ext uri="{FF2B5EF4-FFF2-40B4-BE49-F238E27FC236}">
                <a16:creationId xmlns:a16="http://schemas.microsoft.com/office/drawing/2014/main" id="{2EF81579-5F73-5C9E-AB48-107F48F2E063}"/>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5217837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ingle Content (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7" name="Title Placeholder 1">
            <a:extLst>
              <a:ext uri="{FF2B5EF4-FFF2-40B4-BE49-F238E27FC236}">
                <a16:creationId xmlns:a16="http://schemas.microsoft.com/office/drawing/2014/main" id="{C1C41FDF-9B76-7D0A-1C68-D0FCF07B78A3}"/>
              </a:ext>
            </a:extLst>
          </p:cNvPr>
          <p:cNvSpPr>
            <a:spLocks noGrp="1"/>
          </p:cNvSpPr>
          <p:nvPr>
            <p:ph type="title" hasCustomPrompt="1"/>
          </p:nvPr>
        </p:nvSpPr>
        <p:spPr>
          <a:xfrm>
            <a:off x="571500" y="571500"/>
            <a:ext cx="11049000" cy="429555"/>
          </a:xfrm>
          <a:prstGeom prst="rect">
            <a:avLst/>
          </a:prstGeom>
        </p:spPr>
        <p:txBody>
          <a:bodyPr vert="horz" lIns="0" tIns="0" rIns="0" bIns="0" rtlCol="0" anchor="t">
            <a:noAutofit/>
          </a:bodyPr>
          <a:lstStyle>
            <a:lvl1pPr>
              <a:defRPr sz="3200">
                <a:solidFill>
                  <a:schemeClr val="accent2"/>
                </a:solidFill>
                <a:latin typeface="Segoe UI" panose="020B0502040204020203" pitchFamily="34" charset="0"/>
              </a:defRPr>
            </a:lvl1pPr>
          </a:lstStyle>
          <a:p>
            <a:r>
              <a:rPr lang="en-GB" dirty="0"/>
              <a:t>Click To Edit Master Title Style</a:t>
            </a:r>
            <a:endParaRPr lang="en-US" dirty="0"/>
          </a:p>
        </p:txBody>
      </p:sp>
      <p:sp>
        <p:nvSpPr>
          <p:cNvPr id="9" name="Rectangle 8">
            <a:extLst>
              <a:ext uri="{FF2B5EF4-FFF2-40B4-BE49-F238E27FC236}">
                <a16:creationId xmlns:a16="http://schemas.microsoft.com/office/drawing/2014/main" id="{3AA6D883-AE04-E36A-F7C8-1E820C8A3461}"/>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latin typeface="Segoe UI" panose="020B0502040204020203" pitchFamily="34" charset="0"/>
            </a:endParaRPr>
          </a:p>
        </p:txBody>
      </p:sp>
      <p:sp>
        <p:nvSpPr>
          <p:cNvPr id="10" name="Slide Number Placeholder 5">
            <a:extLst>
              <a:ext uri="{FF2B5EF4-FFF2-40B4-BE49-F238E27FC236}">
                <a16:creationId xmlns:a16="http://schemas.microsoft.com/office/drawing/2014/main" id="{A17ABBA5-5935-6599-FBB6-1F7850D62FF5}"/>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2" name="Picture 11">
            <a:extLst>
              <a:ext uri="{FF2B5EF4-FFF2-40B4-BE49-F238E27FC236}">
                <a16:creationId xmlns:a16="http://schemas.microsoft.com/office/drawing/2014/main" id="{2ED281DF-D073-2E40-29CD-43A41AD3B3E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4" name="Text Placeholder 3">
            <a:extLst>
              <a:ext uri="{FF2B5EF4-FFF2-40B4-BE49-F238E27FC236}">
                <a16:creationId xmlns:a16="http://schemas.microsoft.com/office/drawing/2014/main" id="{A283C466-F1F4-F23F-394E-F781051E37B8}"/>
              </a:ext>
            </a:extLst>
          </p:cNvPr>
          <p:cNvSpPr>
            <a:spLocks noGrp="1"/>
          </p:cNvSpPr>
          <p:nvPr>
            <p:ph type="body" sz="quarter" idx="10"/>
          </p:nvPr>
        </p:nvSpPr>
        <p:spPr>
          <a:xfrm>
            <a:off x="571500" y="1171575"/>
            <a:ext cx="11049000"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1" name="Rectangle 10">
            <a:extLst>
              <a:ext uri="{FF2B5EF4-FFF2-40B4-BE49-F238E27FC236}">
                <a16:creationId xmlns:a16="http://schemas.microsoft.com/office/drawing/2014/main" id="{3C72E280-22E8-9CE6-3FF1-C1EF16D368F4}"/>
              </a:ext>
            </a:extLst>
          </p:cNvPr>
          <p:cNvSpPr/>
          <p:nvPr userDrawn="1"/>
        </p:nvSpPr>
        <p:spPr>
          <a:xfrm>
            <a:off x="0" y="0"/>
            <a:ext cx="12192000" cy="45719"/>
          </a:xfrm>
          <a:prstGeom prst="rect">
            <a:avLst/>
          </a:prstGeom>
          <a:solidFill>
            <a:srgbClr val="F267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25169159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Poin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81D1C3-3B34-C9C1-1928-DEB8089358F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panose="020B0502040204020203" pitchFamily="34" charset="0"/>
            </a:endParaRPr>
          </a:p>
        </p:txBody>
      </p:sp>
      <p:sp>
        <p:nvSpPr>
          <p:cNvPr id="9" name="Slide Number Placeholder 5">
            <a:extLst>
              <a:ext uri="{FF2B5EF4-FFF2-40B4-BE49-F238E27FC236}">
                <a16:creationId xmlns:a16="http://schemas.microsoft.com/office/drawing/2014/main" id="{302FA71A-A6CE-84BE-0779-87611BF3098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1" name="Picture 10">
            <a:extLst>
              <a:ext uri="{FF2B5EF4-FFF2-40B4-BE49-F238E27FC236}">
                <a16:creationId xmlns:a16="http://schemas.microsoft.com/office/drawing/2014/main" id="{66992041-2E44-830E-9B4D-CC831B5884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Oval 14">
            <a:extLst>
              <a:ext uri="{FF2B5EF4-FFF2-40B4-BE49-F238E27FC236}">
                <a16:creationId xmlns:a16="http://schemas.microsoft.com/office/drawing/2014/main" id="{CC5A56EF-1A21-82AD-26F4-AD25B26B9C21}"/>
              </a:ext>
            </a:extLst>
          </p:cNvPr>
          <p:cNvSpPr/>
          <p:nvPr userDrawn="1"/>
        </p:nvSpPr>
        <p:spPr>
          <a:xfrm>
            <a:off x="574113" y="1498994"/>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9" name="Oval 18">
            <a:extLst>
              <a:ext uri="{FF2B5EF4-FFF2-40B4-BE49-F238E27FC236}">
                <a16:creationId xmlns:a16="http://schemas.microsoft.com/office/drawing/2014/main" id="{7AB39687-243F-84A7-643F-A2F8F7880F64}"/>
              </a:ext>
            </a:extLst>
          </p:cNvPr>
          <p:cNvSpPr/>
          <p:nvPr userDrawn="1"/>
        </p:nvSpPr>
        <p:spPr>
          <a:xfrm>
            <a:off x="574113" y="2602436"/>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0" name="Oval 19">
            <a:extLst>
              <a:ext uri="{FF2B5EF4-FFF2-40B4-BE49-F238E27FC236}">
                <a16:creationId xmlns:a16="http://schemas.microsoft.com/office/drawing/2014/main" id="{99DBC6DF-3804-73AD-1958-B7CBBCBD79B5}"/>
              </a:ext>
            </a:extLst>
          </p:cNvPr>
          <p:cNvSpPr/>
          <p:nvPr userDrawn="1"/>
        </p:nvSpPr>
        <p:spPr>
          <a:xfrm>
            <a:off x="574113" y="3705878"/>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1" name="Oval 20">
            <a:extLst>
              <a:ext uri="{FF2B5EF4-FFF2-40B4-BE49-F238E27FC236}">
                <a16:creationId xmlns:a16="http://schemas.microsoft.com/office/drawing/2014/main" id="{56D86F31-4495-6B25-4CD2-07C6B2095788}"/>
              </a:ext>
            </a:extLst>
          </p:cNvPr>
          <p:cNvSpPr/>
          <p:nvPr userDrawn="1"/>
        </p:nvSpPr>
        <p:spPr>
          <a:xfrm>
            <a:off x="574113" y="4809319"/>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3" name="TextBox 22">
            <a:extLst>
              <a:ext uri="{FF2B5EF4-FFF2-40B4-BE49-F238E27FC236}">
                <a16:creationId xmlns:a16="http://schemas.microsoft.com/office/drawing/2014/main" id="{C9DA58AF-B45C-10F5-1233-2C09BC2B9B5B}"/>
              </a:ext>
            </a:extLst>
          </p:cNvPr>
          <p:cNvSpPr txBox="1"/>
          <p:nvPr userDrawn="1"/>
        </p:nvSpPr>
        <p:spPr>
          <a:xfrm>
            <a:off x="574113" y="1517571"/>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1</a:t>
            </a:r>
          </a:p>
        </p:txBody>
      </p:sp>
      <p:sp>
        <p:nvSpPr>
          <p:cNvPr id="24" name="TextBox 23">
            <a:extLst>
              <a:ext uri="{FF2B5EF4-FFF2-40B4-BE49-F238E27FC236}">
                <a16:creationId xmlns:a16="http://schemas.microsoft.com/office/drawing/2014/main" id="{EAEE2D8E-6E02-8479-8FDD-66629420728B}"/>
              </a:ext>
            </a:extLst>
          </p:cNvPr>
          <p:cNvSpPr txBox="1"/>
          <p:nvPr userDrawn="1"/>
        </p:nvSpPr>
        <p:spPr>
          <a:xfrm>
            <a:off x="573242" y="2621013"/>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2</a:t>
            </a:r>
          </a:p>
        </p:txBody>
      </p:sp>
      <p:sp>
        <p:nvSpPr>
          <p:cNvPr id="25" name="TextBox 24">
            <a:extLst>
              <a:ext uri="{FF2B5EF4-FFF2-40B4-BE49-F238E27FC236}">
                <a16:creationId xmlns:a16="http://schemas.microsoft.com/office/drawing/2014/main" id="{2FA8D5CE-C6CC-893E-086D-8FFA985F598E}"/>
              </a:ext>
            </a:extLst>
          </p:cNvPr>
          <p:cNvSpPr txBox="1"/>
          <p:nvPr userDrawn="1"/>
        </p:nvSpPr>
        <p:spPr>
          <a:xfrm>
            <a:off x="572371" y="3724455"/>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3</a:t>
            </a:r>
          </a:p>
        </p:txBody>
      </p:sp>
      <p:sp>
        <p:nvSpPr>
          <p:cNvPr id="26" name="TextBox 25">
            <a:extLst>
              <a:ext uri="{FF2B5EF4-FFF2-40B4-BE49-F238E27FC236}">
                <a16:creationId xmlns:a16="http://schemas.microsoft.com/office/drawing/2014/main" id="{0CF7E23B-1177-A7E3-BB37-80E5E77EC106}"/>
              </a:ext>
            </a:extLst>
          </p:cNvPr>
          <p:cNvSpPr txBox="1"/>
          <p:nvPr userDrawn="1"/>
        </p:nvSpPr>
        <p:spPr>
          <a:xfrm>
            <a:off x="571500" y="4827897"/>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4</a:t>
            </a:r>
          </a:p>
        </p:txBody>
      </p:sp>
      <p:sp>
        <p:nvSpPr>
          <p:cNvPr id="30" name="Text Placeholder 2">
            <a:extLst>
              <a:ext uri="{FF2B5EF4-FFF2-40B4-BE49-F238E27FC236}">
                <a16:creationId xmlns:a16="http://schemas.microsoft.com/office/drawing/2014/main" id="{B079D1C1-243A-C65D-C355-3EA60A04817A}"/>
              </a:ext>
            </a:extLst>
          </p:cNvPr>
          <p:cNvSpPr>
            <a:spLocks noGrp="1"/>
          </p:cNvSpPr>
          <p:nvPr>
            <p:ph idx="1" hasCustomPrompt="1"/>
          </p:nvPr>
        </p:nvSpPr>
        <p:spPr>
          <a:xfrm>
            <a:off x="869393" y="1364955"/>
            <a:ext cx="10752012"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1" name="Text Placeholder 2">
            <a:extLst>
              <a:ext uri="{FF2B5EF4-FFF2-40B4-BE49-F238E27FC236}">
                <a16:creationId xmlns:a16="http://schemas.microsoft.com/office/drawing/2014/main" id="{00C73C6D-2072-F601-982C-3ED0A7FD244E}"/>
              </a:ext>
            </a:extLst>
          </p:cNvPr>
          <p:cNvSpPr>
            <a:spLocks noGrp="1"/>
          </p:cNvSpPr>
          <p:nvPr>
            <p:ph idx="10" hasCustomPrompt="1"/>
          </p:nvPr>
        </p:nvSpPr>
        <p:spPr>
          <a:xfrm>
            <a:off x="869392" y="2474034"/>
            <a:ext cx="10751107"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2" name="Text Placeholder 2">
            <a:extLst>
              <a:ext uri="{FF2B5EF4-FFF2-40B4-BE49-F238E27FC236}">
                <a16:creationId xmlns:a16="http://schemas.microsoft.com/office/drawing/2014/main" id="{79767D98-E98C-43FE-D8D2-3A4C8C4D155A}"/>
              </a:ext>
            </a:extLst>
          </p:cNvPr>
          <p:cNvSpPr>
            <a:spLocks noGrp="1"/>
          </p:cNvSpPr>
          <p:nvPr>
            <p:ph idx="11" hasCustomPrompt="1"/>
          </p:nvPr>
        </p:nvSpPr>
        <p:spPr>
          <a:xfrm>
            <a:off x="870264" y="3567746"/>
            <a:ext cx="10751107"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3" name="Text Placeholder 2">
            <a:extLst>
              <a:ext uri="{FF2B5EF4-FFF2-40B4-BE49-F238E27FC236}">
                <a16:creationId xmlns:a16="http://schemas.microsoft.com/office/drawing/2014/main" id="{124D6786-28F5-F83E-E1E0-E4D41C616AAF}"/>
              </a:ext>
            </a:extLst>
          </p:cNvPr>
          <p:cNvSpPr>
            <a:spLocks noGrp="1"/>
          </p:cNvSpPr>
          <p:nvPr>
            <p:ph idx="12" hasCustomPrompt="1"/>
          </p:nvPr>
        </p:nvSpPr>
        <p:spPr>
          <a:xfrm>
            <a:off x="869392" y="4677438"/>
            <a:ext cx="10751107"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4" name="Title Placeholder 1">
            <a:extLst>
              <a:ext uri="{FF2B5EF4-FFF2-40B4-BE49-F238E27FC236}">
                <a16:creationId xmlns:a16="http://schemas.microsoft.com/office/drawing/2014/main" id="{AAD8FA1E-AE3F-5594-9FA9-7A273973DEFD}"/>
              </a:ext>
            </a:extLst>
          </p:cNvPr>
          <p:cNvSpPr>
            <a:spLocks noGrp="1"/>
          </p:cNvSpPr>
          <p:nvPr>
            <p:ph type="title" hasCustomPrompt="1"/>
          </p:nvPr>
        </p:nvSpPr>
        <p:spPr>
          <a:xfrm>
            <a:off x="571500" y="580258"/>
            <a:ext cx="11049000" cy="559490"/>
          </a:xfrm>
          <a:prstGeom prst="rect">
            <a:avLst/>
          </a:prstGeom>
        </p:spPr>
        <p:txBody>
          <a:bodyPr vert="horz" lIns="0" tIns="0" rIns="0" bIns="0" rtlCol="0" anchor="t">
            <a:normAutofit/>
          </a:bodyPr>
          <a:lstStyle>
            <a:lvl1pPr>
              <a:defRPr sz="2800">
                <a:solidFill>
                  <a:schemeClr val="accent2"/>
                </a:solidFill>
                <a:latin typeface="Segoe UI" panose="020B0502040204020203" pitchFamily="34" charset="0"/>
              </a:defRPr>
            </a:lvl1pPr>
          </a:lstStyle>
          <a:p>
            <a:r>
              <a:rPr lang="en-GB" dirty="0"/>
              <a:t>Click To Edit Master Title Style</a:t>
            </a:r>
            <a:endParaRPr lang="en-US" dirty="0"/>
          </a:p>
        </p:txBody>
      </p:sp>
      <p:sp>
        <p:nvSpPr>
          <p:cNvPr id="27" name="Rectangle 26">
            <a:extLst>
              <a:ext uri="{FF2B5EF4-FFF2-40B4-BE49-F238E27FC236}">
                <a16:creationId xmlns:a16="http://schemas.microsoft.com/office/drawing/2014/main" id="{FE9B7BB3-F60F-923E-F940-CAB7A1BCA870}"/>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23042029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ingle Content (2)">
    <p:bg>
      <p:bgPr>
        <a:solidFill>
          <a:schemeClr val="accent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A5F781-B11F-3BF1-E89E-2C048C1E409E}"/>
              </a:ext>
            </a:extLst>
          </p:cNvPr>
          <p:cNvSpPr/>
          <p:nvPr userDrawn="1"/>
        </p:nvSpPr>
        <p:spPr>
          <a:xfrm flipV="1">
            <a:off x="0" y="6308724"/>
            <a:ext cx="12192000" cy="549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3" name="Title Placeholder 1">
            <a:extLst>
              <a:ext uri="{FF2B5EF4-FFF2-40B4-BE49-F238E27FC236}">
                <a16:creationId xmlns:a16="http://schemas.microsoft.com/office/drawing/2014/main" id="{41816E5F-2616-DFD0-A878-30D0E7D4652A}"/>
              </a:ext>
            </a:extLst>
          </p:cNvPr>
          <p:cNvSpPr>
            <a:spLocks noGrp="1"/>
          </p:cNvSpPr>
          <p:nvPr>
            <p:ph type="title" hasCustomPrompt="1"/>
          </p:nvPr>
        </p:nvSpPr>
        <p:spPr>
          <a:xfrm>
            <a:off x="571500" y="571500"/>
            <a:ext cx="11049000" cy="608282"/>
          </a:xfrm>
          <a:prstGeom prst="rect">
            <a:avLst/>
          </a:prstGeom>
        </p:spPr>
        <p:txBody>
          <a:bodyPr vert="horz" lIns="0" tIns="0" rIns="0" bIns="0" rtlCol="0" anchor="t">
            <a:normAutofit/>
          </a:bodyPr>
          <a:lstStyle>
            <a:lvl1pPr>
              <a:defRPr sz="3200">
                <a:solidFill>
                  <a:srgbClr val="FFFFFF"/>
                </a:solidFill>
                <a:latin typeface="Segoe UI" panose="020B0502040204020203" pitchFamily="34" charset="0"/>
              </a:defRPr>
            </a:lvl1pPr>
          </a:lstStyle>
          <a:p>
            <a:r>
              <a:rPr lang="en-GB" dirty="0"/>
              <a:t>Click To Edit Master Title Style</a:t>
            </a:r>
            <a:endParaRPr lang="en-US" dirty="0"/>
          </a:p>
        </p:txBody>
      </p:sp>
      <p:sp>
        <p:nvSpPr>
          <p:cNvPr id="18" name="Slide Number Placeholder 5">
            <a:extLst>
              <a:ext uri="{FF2B5EF4-FFF2-40B4-BE49-F238E27FC236}">
                <a16:creationId xmlns:a16="http://schemas.microsoft.com/office/drawing/2014/main" id="{D7640E00-6972-1D26-91B7-E3DB4A2C4357}"/>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20" name="Picture 19">
            <a:extLst>
              <a:ext uri="{FF2B5EF4-FFF2-40B4-BE49-F238E27FC236}">
                <a16:creationId xmlns:a16="http://schemas.microsoft.com/office/drawing/2014/main" id="{A8328F8C-3524-D815-B9D5-91A4C44D85E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2" name="Text Placeholder 3">
            <a:extLst>
              <a:ext uri="{FF2B5EF4-FFF2-40B4-BE49-F238E27FC236}">
                <a16:creationId xmlns:a16="http://schemas.microsoft.com/office/drawing/2014/main" id="{41B38B3C-D946-11A6-85B9-9694697267A5}"/>
              </a:ext>
            </a:extLst>
          </p:cNvPr>
          <p:cNvSpPr>
            <a:spLocks noGrp="1"/>
          </p:cNvSpPr>
          <p:nvPr>
            <p:ph type="body" sz="quarter" idx="10"/>
          </p:nvPr>
        </p:nvSpPr>
        <p:spPr>
          <a:xfrm>
            <a:off x="571500" y="1312754"/>
            <a:ext cx="11049000" cy="4567612"/>
          </a:xfrm>
          <a:prstGeom prst="rect">
            <a:avLst/>
          </a:prstGeom>
        </p:spPr>
        <p:txBody>
          <a:bodyPr/>
          <a:lstStyle>
            <a:lvl1pPr>
              <a:defRPr sz="2000">
                <a:solidFill>
                  <a:srgbClr val="FFFFFF"/>
                </a:solidFill>
              </a:defRPr>
            </a:lvl1pPr>
            <a:lvl2pPr>
              <a:defRPr sz="1800">
                <a:solidFill>
                  <a:srgbClr val="FFFFFF"/>
                </a:solidFill>
              </a:defRPr>
            </a:lvl2pPr>
            <a:lvl3pPr>
              <a:defRPr sz="1600">
                <a:solidFill>
                  <a:srgbClr val="FFFFFF"/>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8" name="Rectangle 7">
            <a:extLst>
              <a:ext uri="{FF2B5EF4-FFF2-40B4-BE49-F238E27FC236}">
                <a16:creationId xmlns:a16="http://schemas.microsoft.com/office/drawing/2014/main" id="{6A3B2EFE-DDF4-115E-AF75-89172D42372B}"/>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35082747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F2674A-1254-96D1-EB5F-410185F8B938}"/>
              </a:ext>
            </a:extLst>
          </p:cNvPr>
          <p:cNvSpPr/>
          <p:nvPr userDrawn="1"/>
        </p:nvSpPr>
        <p:spPr>
          <a:xfrm>
            <a:off x="-2" y="4066976"/>
            <a:ext cx="8694753" cy="27910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cxnSp>
        <p:nvCxnSpPr>
          <p:cNvPr id="6" name="Straight Connector 5">
            <a:extLst>
              <a:ext uri="{FF2B5EF4-FFF2-40B4-BE49-F238E27FC236}">
                <a16:creationId xmlns:a16="http://schemas.microsoft.com/office/drawing/2014/main" id="{417A7A22-EA8F-3097-7041-9876D5C2DDDB}"/>
              </a:ext>
            </a:extLst>
          </p:cNvPr>
          <p:cNvCxnSpPr/>
          <p:nvPr userDrawn="1"/>
        </p:nvCxnSpPr>
        <p:spPr>
          <a:xfrm>
            <a:off x="0" y="4046202"/>
            <a:ext cx="121920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863A1B51-5B5D-DD2C-AD66-A4E801AB223E}"/>
              </a:ext>
            </a:extLst>
          </p:cNvPr>
          <p:cNvSpPr>
            <a:spLocks noGrp="1"/>
          </p:cNvSpPr>
          <p:nvPr>
            <p:ph type="pic" sz="quarter" idx="10"/>
          </p:nvPr>
        </p:nvSpPr>
        <p:spPr>
          <a:xfrm>
            <a:off x="0" y="0"/>
            <a:ext cx="12192000" cy="4025900"/>
          </a:xfrm>
          <a:prstGeom prst="rect">
            <a:avLst/>
          </a:prstGeom>
        </p:spPr>
        <p:txBody>
          <a:bodyPr anchor="ctr"/>
          <a:lstStyle>
            <a:lvl1pPr marL="0" indent="0" algn="ctr">
              <a:buNone/>
              <a:defRPr/>
            </a:lvl1pPr>
          </a:lstStyle>
          <a:p>
            <a:endParaRPr lang="en-GB" dirty="0"/>
          </a:p>
        </p:txBody>
      </p:sp>
      <p:sp>
        <p:nvSpPr>
          <p:cNvPr id="16" name="Picture Placeholder 15">
            <a:extLst>
              <a:ext uri="{FF2B5EF4-FFF2-40B4-BE49-F238E27FC236}">
                <a16:creationId xmlns:a16="http://schemas.microsoft.com/office/drawing/2014/main" id="{1D0AD777-F1ED-E54E-D0A5-8699A28978E1}"/>
              </a:ext>
            </a:extLst>
          </p:cNvPr>
          <p:cNvSpPr>
            <a:spLocks noGrp="1"/>
          </p:cNvSpPr>
          <p:nvPr>
            <p:ph type="pic" sz="quarter" idx="11" hasCustomPrompt="1"/>
          </p:nvPr>
        </p:nvSpPr>
        <p:spPr>
          <a:xfrm>
            <a:off x="9107424" y="4487863"/>
            <a:ext cx="2834640" cy="2013511"/>
          </a:xfrm>
          <a:prstGeom prst="rect">
            <a:avLst/>
          </a:prstGeom>
        </p:spPr>
        <p:txBody>
          <a:bodyPr anchor="ctr"/>
          <a:lstStyle>
            <a:lvl1pPr marL="0" indent="0" algn="ctr">
              <a:buNone/>
              <a:defRPr sz="1600"/>
            </a:lvl1pPr>
          </a:lstStyle>
          <a:p>
            <a:r>
              <a:rPr lang="en-US" dirty="0"/>
              <a:t>Logo</a:t>
            </a:r>
            <a:endParaRPr lang="en-GB" dirty="0"/>
          </a:p>
        </p:txBody>
      </p:sp>
      <p:sp>
        <p:nvSpPr>
          <p:cNvPr id="22" name="Text Placeholder 21">
            <a:extLst>
              <a:ext uri="{FF2B5EF4-FFF2-40B4-BE49-F238E27FC236}">
                <a16:creationId xmlns:a16="http://schemas.microsoft.com/office/drawing/2014/main" id="{9FEF952C-51AC-CCA3-5328-34E5AF35698F}"/>
              </a:ext>
            </a:extLst>
          </p:cNvPr>
          <p:cNvSpPr>
            <a:spLocks noGrp="1"/>
          </p:cNvSpPr>
          <p:nvPr>
            <p:ph type="body" sz="quarter" idx="14" hasCustomPrompt="1"/>
          </p:nvPr>
        </p:nvSpPr>
        <p:spPr>
          <a:xfrm>
            <a:off x="766763" y="4352925"/>
            <a:ext cx="6967537" cy="657225"/>
          </a:xfrm>
          <a:prstGeom prst="rect">
            <a:avLst/>
          </a:prstGeom>
        </p:spPr>
        <p:txBody>
          <a:bodyPr anchor="b"/>
          <a:lstStyle>
            <a:lvl1pPr marL="0" indent="0">
              <a:buNone/>
              <a:defRPr sz="3200" b="1">
                <a:solidFill>
                  <a:schemeClr val="bg1"/>
                </a:solidFill>
              </a:defRPr>
            </a:lvl1pPr>
          </a:lstStyle>
          <a:p>
            <a:pPr lvl="0"/>
            <a:r>
              <a:rPr lang="en-US" dirty="0"/>
              <a:t>Click to edit Title</a:t>
            </a:r>
          </a:p>
        </p:txBody>
      </p:sp>
      <p:sp>
        <p:nvSpPr>
          <p:cNvPr id="23" name="Text Placeholder 21">
            <a:extLst>
              <a:ext uri="{FF2B5EF4-FFF2-40B4-BE49-F238E27FC236}">
                <a16:creationId xmlns:a16="http://schemas.microsoft.com/office/drawing/2014/main" id="{2F933BE7-BF73-A899-0EB4-AF04B7F1BEDF}"/>
              </a:ext>
            </a:extLst>
          </p:cNvPr>
          <p:cNvSpPr>
            <a:spLocks noGrp="1"/>
          </p:cNvSpPr>
          <p:nvPr>
            <p:ph type="body" sz="quarter" idx="15" hasCustomPrompt="1"/>
          </p:nvPr>
        </p:nvSpPr>
        <p:spPr>
          <a:xfrm>
            <a:off x="766762" y="5090202"/>
            <a:ext cx="6967537" cy="1025525"/>
          </a:xfrm>
          <a:prstGeom prst="rect">
            <a:avLst/>
          </a:prstGeom>
        </p:spPr>
        <p:txBody>
          <a:bodyPr/>
          <a:lstStyle>
            <a:lvl1pPr marL="0" indent="0">
              <a:buNone/>
              <a:defRPr sz="2000" b="1">
                <a:solidFill>
                  <a:schemeClr val="accent1"/>
                </a:solidFill>
              </a:defRPr>
            </a:lvl1pPr>
          </a:lstStyle>
          <a:p>
            <a:pPr lvl="0"/>
            <a:r>
              <a:rPr lang="en-US" dirty="0"/>
              <a:t>Click to edit Subtitle</a:t>
            </a:r>
          </a:p>
        </p:txBody>
      </p:sp>
    </p:spTree>
    <p:extLst>
      <p:ext uri="{BB962C8B-B14F-4D97-AF65-F5344CB8AC3E}">
        <p14:creationId xmlns:p14="http://schemas.microsoft.com/office/powerpoint/2010/main" val="18650242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Pointers (with icon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81D1C3-3B34-C9C1-1928-DEB8089358F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panose="020B0502040204020203" pitchFamily="34" charset="0"/>
            </a:endParaRPr>
          </a:p>
        </p:txBody>
      </p:sp>
      <p:sp>
        <p:nvSpPr>
          <p:cNvPr id="9" name="Slide Number Placeholder 5">
            <a:extLst>
              <a:ext uri="{FF2B5EF4-FFF2-40B4-BE49-F238E27FC236}">
                <a16:creationId xmlns:a16="http://schemas.microsoft.com/office/drawing/2014/main" id="{302FA71A-A6CE-84BE-0779-87611BF3098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1" name="Picture 10">
            <a:extLst>
              <a:ext uri="{FF2B5EF4-FFF2-40B4-BE49-F238E27FC236}">
                <a16:creationId xmlns:a16="http://schemas.microsoft.com/office/drawing/2014/main" id="{66992041-2E44-830E-9B4D-CC831B5884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Oval 14">
            <a:extLst>
              <a:ext uri="{FF2B5EF4-FFF2-40B4-BE49-F238E27FC236}">
                <a16:creationId xmlns:a16="http://schemas.microsoft.com/office/drawing/2014/main" id="{CC5A56EF-1A21-82AD-26F4-AD25B26B9C21}"/>
              </a:ext>
            </a:extLst>
          </p:cNvPr>
          <p:cNvSpPr/>
          <p:nvPr userDrawn="1"/>
        </p:nvSpPr>
        <p:spPr>
          <a:xfrm>
            <a:off x="571500" y="1605966"/>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9" name="Oval 18">
            <a:extLst>
              <a:ext uri="{FF2B5EF4-FFF2-40B4-BE49-F238E27FC236}">
                <a16:creationId xmlns:a16="http://schemas.microsoft.com/office/drawing/2014/main" id="{7AB39687-243F-84A7-643F-A2F8F7880F64}"/>
              </a:ext>
            </a:extLst>
          </p:cNvPr>
          <p:cNvSpPr/>
          <p:nvPr userDrawn="1"/>
        </p:nvSpPr>
        <p:spPr>
          <a:xfrm>
            <a:off x="571500" y="2712226"/>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0" name="Oval 19">
            <a:extLst>
              <a:ext uri="{FF2B5EF4-FFF2-40B4-BE49-F238E27FC236}">
                <a16:creationId xmlns:a16="http://schemas.microsoft.com/office/drawing/2014/main" id="{99DBC6DF-3804-73AD-1958-B7CBBCBD79B5}"/>
              </a:ext>
            </a:extLst>
          </p:cNvPr>
          <p:cNvSpPr/>
          <p:nvPr userDrawn="1"/>
        </p:nvSpPr>
        <p:spPr>
          <a:xfrm>
            <a:off x="571500" y="3810803"/>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1" name="Oval 20">
            <a:extLst>
              <a:ext uri="{FF2B5EF4-FFF2-40B4-BE49-F238E27FC236}">
                <a16:creationId xmlns:a16="http://schemas.microsoft.com/office/drawing/2014/main" id="{56D86F31-4495-6B25-4CD2-07C6B2095788}"/>
              </a:ext>
            </a:extLst>
          </p:cNvPr>
          <p:cNvSpPr/>
          <p:nvPr userDrawn="1"/>
        </p:nvSpPr>
        <p:spPr>
          <a:xfrm>
            <a:off x="571500" y="4917370"/>
            <a:ext cx="726282" cy="7262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30" name="Text Placeholder 2">
            <a:extLst>
              <a:ext uri="{FF2B5EF4-FFF2-40B4-BE49-F238E27FC236}">
                <a16:creationId xmlns:a16="http://schemas.microsoft.com/office/drawing/2014/main" id="{B079D1C1-243A-C65D-C355-3EA60A04817A}"/>
              </a:ext>
            </a:extLst>
          </p:cNvPr>
          <p:cNvSpPr>
            <a:spLocks noGrp="1"/>
          </p:cNvSpPr>
          <p:nvPr>
            <p:ph idx="1" hasCustomPrompt="1"/>
          </p:nvPr>
        </p:nvSpPr>
        <p:spPr>
          <a:xfrm>
            <a:off x="1352747" y="1517463"/>
            <a:ext cx="10268657"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1" name="Text Placeholder 2">
            <a:extLst>
              <a:ext uri="{FF2B5EF4-FFF2-40B4-BE49-F238E27FC236}">
                <a16:creationId xmlns:a16="http://schemas.microsoft.com/office/drawing/2014/main" id="{00C73C6D-2072-F601-982C-3ED0A7FD244E}"/>
              </a:ext>
            </a:extLst>
          </p:cNvPr>
          <p:cNvSpPr>
            <a:spLocks noGrp="1"/>
          </p:cNvSpPr>
          <p:nvPr>
            <p:ph idx="10" hasCustomPrompt="1"/>
          </p:nvPr>
        </p:nvSpPr>
        <p:spPr>
          <a:xfrm>
            <a:off x="1352706" y="2623723"/>
            <a:ext cx="10267794"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2" name="Text Placeholder 2">
            <a:extLst>
              <a:ext uri="{FF2B5EF4-FFF2-40B4-BE49-F238E27FC236}">
                <a16:creationId xmlns:a16="http://schemas.microsoft.com/office/drawing/2014/main" id="{79767D98-E98C-43FE-D8D2-3A4C8C4D155A}"/>
              </a:ext>
            </a:extLst>
          </p:cNvPr>
          <p:cNvSpPr>
            <a:spLocks noGrp="1"/>
          </p:cNvSpPr>
          <p:nvPr>
            <p:ph idx="11" hasCustomPrompt="1"/>
          </p:nvPr>
        </p:nvSpPr>
        <p:spPr>
          <a:xfrm>
            <a:off x="1353578" y="3722300"/>
            <a:ext cx="10267794"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3" name="Text Placeholder 2">
            <a:extLst>
              <a:ext uri="{FF2B5EF4-FFF2-40B4-BE49-F238E27FC236}">
                <a16:creationId xmlns:a16="http://schemas.microsoft.com/office/drawing/2014/main" id="{124D6786-28F5-F83E-E1E0-E4D41C616AAF}"/>
              </a:ext>
            </a:extLst>
          </p:cNvPr>
          <p:cNvSpPr>
            <a:spLocks noGrp="1"/>
          </p:cNvSpPr>
          <p:nvPr>
            <p:ph idx="12" hasCustomPrompt="1"/>
          </p:nvPr>
        </p:nvSpPr>
        <p:spPr>
          <a:xfrm>
            <a:off x="1352706" y="4828867"/>
            <a:ext cx="10267794" cy="903288"/>
          </a:xfrm>
          <a:prstGeom prst="rect">
            <a:avLst/>
          </a:prstGeom>
        </p:spPr>
        <p:txBody>
          <a:bodyPr vert="horz" lIns="91440" tIns="45720" rIns="91440" bIns="45720" rtlCol="0" anchor="t">
            <a:normAutofit/>
          </a:bodyPr>
          <a:lstStyle>
            <a:lvl1pPr marL="0" indent="0">
              <a:lnSpc>
                <a:spcPct val="100000"/>
              </a:lnSpc>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4" name="Title Placeholder 1">
            <a:extLst>
              <a:ext uri="{FF2B5EF4-FFF2-40B4-BE49-F238E27FC236}">
                <a16:creationId xmlns:a16="http://schemas.microsoft.com/office/drawing/2014/main" id="{AAD8FA1E-AE3F-5594-9FA9-7A273973DEFD}"/>
              </a:ext>
            </a:extLst>
          </p:cNvPr>
          <p:cNvSpPr>
            <a:spLocks noGrp="1"/>
          </p:cNvSpPr>
          <p:nvPr>
            <p:ph type="title" hasCustomPrompt="1"/>
          </p:nvPr>
        </p:nvSpPr>
        <p:spPr>
          <a:xfrm>
            <a:off x="571500" y="593343"/>
            <a:ext cx="11049000" cy="566115"/>
          </a:xfrm>
          <a:prstGeom prst="rect">
            <a:avLst/>
          </a:prstGeom>
        </p:spPr>
        <p:txBody>
          <a:bodyPr vert="horz" lIns="0" tIns="0" rIns="0" bIns="0" rtlCol="0" anchor="t">
            <a:normAutofit/>
          </a:bodyPr>
          <a:lstStyle>
            <a:lvl1pPr>
              <a:defRPr sz="2800">
                <a:solidFill>
                  <a:schemeClr val="accent2"/>
                </a:solidFill>
                <a:latin typeface="Segoe UI" panose="020B0502040204020203" pitchFamily="34" charset="0"/>
              </a:defRPr>
            </a:lvl1pPr>
          </a:lstStyle>
          <a:p>
            <a:r>
              <a:rPr lang="en-GB" dirty="0"/>
              <a:t>Click To Edit Master Title Style</a:t>
            </a:r>
            <a:endParaRPr lang="en-US" dirty="0"/>
          </a:p>
        </p:txBody>
      </p:sp>
      <p:sp>
        <p:nvSpPr>
          <p:cNvPr id="17" name="Rectangle 16">
            <a:extLst>
              <a:ext uri="{FF2B5EF4-FFF2-40B4-BE49-F238E27FC236}">
                <a16:creationId xmlns:a16="http://schemas.microsoft.com/office/drawing/2014/main" id="{3BD3048E-41AD-587D-D603-A879063DE834}"/>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21456238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Plain ">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52105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lide Break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1"/>
            <a:ext cx="6862764"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latin typeface="Segoe UI" panose="020B0502040204020203" pitchFamily="34" charset="0"/>
            </a:endParaRPr>
          </a:p>
        </p:txBody>
      </p:sp>
      <p:sp>
        <p:nvSpPr>
          <p:cNvPr id="2" name="Title 1"/>
          <p:cNvSpPr>
            <a:spLocks noGrp="1"/>
          </p:cNvSpPr>
          <p:nvPr>
            <p:ph type="title" hasCustomPrompt="1"/>
          </p:nvPr>
        </p:nvSpPr>
        <p:spPr>
          <a:xfrm>
            <a:off x="571500" y="2443503"/>
            <a:ext cx="5329237" cy="989595"/>
          </a:xfrm>
          <a:prstGeom prst="rect">
            <a:avLst/>
          </a:prstGeom>
        </p:spPr>
        <p:txBody>
          <a:bodyPr lIns="0" anchor="ctr"/>
          <a:lstStyle>
            <a:lvl1pPr algn="l">
              <a:defRPr>
                <a:solidFill>
                  <a:srgbClr val="FFFFFF"/>
                </a:solidFill>
                <a:latin typeface="Segoe UI" panose="020B0502040204020203" pitchFamily="34" charset="0"/>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6862764" y="-2"/>
            <a:ext cx="5329236" cy="685800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cxnSp>
        <p:nvCxnSpPr>
          <p:cNvPr id="4" name="Straight Connector 3">
            <a:extLst>
              <a:ext uri="{FF2B5EF4-FFF2-40B4-BE49-F238E27FC236}">
                <a16:creationId xmlns:a16="http://schemas.microsoft.com/office/drawing/2014/main" id="{9252261D-42C0-939A-0448-368AF65D2809}"/>
              </a:ext>
            </a:extLst>
          </p:cNvPr>
          <p:cNvCxnSpPr>
            <a:cxnSpLocks/>
          </p:cNvCxnSpPr>
          <p:nvPr userDrawn="1"/>
        </p:nvCxnSpPr>
        <p:spPr>
          <a:xfrm>
            <a:off x="554245" y="3957403"/>
            <a:ext cx="4721902"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1457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ouble side Content ">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F38FDCDA-E94F-5F80-1739-1076B213EFA0}"/>
              </a:ext>
            </a:extLst>
          </p:cNvPr>
          <p:cNvSpPr>
            <a:spLocks noGrp="1"/>
          </p:cNvSpPr>
          <p:nvPr>
            <p:ph type="sldNum" sz="quarter" idx="12"/>
          </p:nvPr>
        </p:nvSpPr>
        <p:spPr>
          <a:xfrm>
            <a:off x="10641466" y="6486863"/>
            <a:ext cx="874032" cy="365125"/>
          </a:xfrm>
          <a:prstGeom prst="rect">
            <a:avLst/>
          </a:prstGeom>
        </p:spPr>
        <p:txBody>
          <a:bodyPr/>
          <a:lstStyle/>
          <a:p>
            <a:fld id="{48F63A3B-78C7-47BE-AE5E-E10140E04643}" type="slidenum">
              <a:rPr lang="en-US" smtClean="0"/>
              <a:t>‹#›</a:t>
            </a:fld>
            <a:endParaRPr lang="en-US" dirty="0"/>
          </a:p>
        </p:txBody>
      </p:sp>
      <p:sp>
        <p:nvSpPr>
          <p:cNvPr id="9" name="Title Placeholder 1">
            <a:extLst>
              <a:ext uri="{FF2B5EF4-FFF2-40B4-BE49-F238E27FC236}">
                <a16:creationId xmlns:a16="http://schemas.microsoft.com/office/drawing/2014/main" id="{24633609-93A2-53EF-5DD4-A2F20CF60C97}"/>
              </a:ext>
            </a:extLst>
          </p:cNvPr>
          <p:cNvSpPr>
            <a:spLocks noGrp="1"/>
          </p:cNvSpPr>
          <p:nvPr>
            <p:ph type="title" hasCustomPrompt="1"/>
          </p:nvPr>
        </p:nvSpPr>
        <p:spPr>
          <a:xfrm>
            <a:off x="766763" y="185966"/>
            <a:ext cx="10658475" cy="903288"/>
          </a:xfrm>
          <a:prstGeom prst="rect">
            <a:avLst/>
          </a:prstGeom>
        </p:spPr>
        <p:txBody>
          <a:bodyPr vert="horz" lIns="0" tIns="0" rIns="0" bIns="0" rtlCol="0" anchor="b">
            <a:normAutofit/>
          </a:bodyPr>
          <a:lstStyle>
            <a:lvl1pPr>
              <a:defRPr sz="2800">
                <a:solidFill>
                  <a:schemeClr val="accent2"/>
                </a:solidFill>
              </a:defRPr>
            </a:lvl1pPr>
          </a:lstStyle>
          <a:p>
            <a:r>
              <a:rPr lang="en-GB" dirty="0"/>
              <a:t>Click To Edit Master Title Style</a:t>
            </a:r>
            <a:endParaRPr lang="en-US" dirty="0"/>
          </a:p>
        </p:txBody>
      </p:sp>
      <p:sp>
        <p:nvSpPr>
          <p:cNvPr id="10" name="Rectangle 9">
            <a:extLst>
              <a:ext uri="{FF2B5EF4-FFF2-40B4-BE49-F238E27FC236}">
                <a16:creationId xmlns:a16="http://schemas.microsoft.com/office/drawing/2014/main" id="{6CAAD997-7829-8011-41BC-4C8A3406F41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lide Number Placeholder 5">
            <a:extLst>
              <a:ext uri="{FF2B5EF4-FFF2-40B4-BE49-F238E27FC236}">
                <a16:creationId xmlns:a16="http://schemas.microsoft.com/office/drawing/2014/main" id="{4F207CD3-FD04-9E29-E649-D7F8717E592D}"/>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660A1290-B9A7-F6AD-C176-9D8D826A85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Text Placeholder 3">
            <a:extLst>
              <a:ext uri="{FF2B5EF4-FFF2-40B4-BE49-F238E27FC236}">
                <a16:creationId xmlns:a16="http://schemas.microsoft.com/office/drawing/2014/main" id="{492E9533-2BA6-CD8A-904E-24DB3A24F8EF}"/>
              </a:ext>
            </a:extLst>
          </p:cNvPr>
          <p:cNvSpPr>
            <a:spLocks noGrp="1"/>
          </p:cNvSpPr>
          <p:nvPr>
            <p:ph type="body" sz="quarter" idx="10"/>
          </p:nvPr>
        </p:nvSpPr>
        <p:spPr>
          <a:xfrm>
            <a:off x="766763" y="1342095"/>
            <a:ext cx="5329237"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6" name="Text Placeholder 3">
            <a:extLst>
              <a:ext uri="{FF2B5EF4-FFF2-40B4-BE49-F238E27FC236}">
                <a16:creationId xmlns:a16="http://schemas.microsoft.com/office/drawing/2014/main" id="{91A4214A-D157-FDFB-51C7-309D097F7D06}"/>
              </a:ext>
            </a:extLst>
          </p:cNvPr>
          <p:cNvSpPr>
            <a:spLocks noGrp="1"/>
          </p:cNvSpPr>
          <p:nvPr>
            <p:ph type="body" sz="quarter" idx="13"/>
          </p:nvPr>
        </p:nvSpPr>
        <p:spPr>
          <a:xfrm>
            <a:off x="6096001" y="1336082"/>
            <a:ext cx="5329237"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2" name="Rectangle 11">
            <a:extLst>
              <a:ext uri="{FF2B5EF4-FFF2-40B4-BE49-F238E27FC236}">
                <a16:creationId xmlns:a16="http://schemas.microsoft.com/office/drawing/2014/main" id="{2EF81579-5F73-5C9E-AB48-107F48F2E063}"/>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8095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lide Breaker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2758190"/>
            <a:ext cx="12192000" cy="40998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latin typeface="Segoe UI" panose="020B0502040204020203" pitchFamily="34" charset="0"/>
            </a:endParaRPr>
          </a:p>
        </p:txBody>
      </p:sp>
      <p:sp>
        <p:nvSpPr>
          <p:cNvPr id="2" name="Title 1"/>
          <p:cNvSpPr>
            <a:spLocks noGrp="1"/>
          </p:cNvSpPr>
          <p:nvPr>
            <p:ph type="title" hasCustomPrompt="1"/>
          </p:nvPr>
        </p:nvSpPr>
        <p:spPr>
          <a:xfrm>
            <a:off x="571500" y="4002480"/>
            <a:ext cx="5329237" cy="989595"/>
          </a:xfrm>
          <a:prstGeom prst="rect">
            <a:avLst/>
          </a:prstGeom>
        </p:spPr>
        <p:txBody>
          <a:bodyPr lIns="0" anchor="ctr"/>
          <a:lstStyle>
            <a:lvl1pPr algn="l">
              <a:defRPr>
                <a:solidFill>
                  <a:srgbClr val="FFFFFF"/>
                </a:solidFill>
                <a:latin typeface="Segoe UI" panose="020B0502040204020203" pitchFamily="34" charset="0"/>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0" y="-2"/>
            <a:ext cx="12192000" cy="2758192"/>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cxnSp>
        <p:nvCxnSpPr>
          <p:cNvPr id="4" name="Straight Connector 3">
            <a:extLst>
              <a:ext uri="{FF2B5EF4-FFF2-40B4-BE49-F238E27FC236}">
                <a16:creationId xmlns:a16="http://schemas.microsoft.com/office/drawing/2014/main" id="{9252261D-42C0-939A-0448-368AF65D2809}"/>
              </a:ext>
            </a:extLst>
          </p:cNvPr>
          <p:cNvCxnSpPr>
            <a:cxnSpLocks/>
          </p:cNvCxnSpPr>
          <p:nvPr userDrawn="1"/>
        </p:nvCxnSpPr>
        <p:spPr>
          <a:xfrm>
            <a:off x="554245" y="5276538"/>
            <a:ext cx="3117954"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74466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oin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81D1C3-3B34-C9C1-1928-DEB8089358F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panose="020B0502040204020203" pitchFamily="34" charset="0"/>
            </a:endParaRPr>
          </a:p>
        </p:txBody>
      </p:sp>
      <p:sp>
        <p:nvSpPr>
          <p:cNvPr id="9" name="Slide Number Placeholder 5">
            <a:extLst>
              <a:ext uri="{FF2B5EF4-FFF2-40B4-BE49-F238E27FC236}">
                <a16:creationId xmlns:a16="http://schemas.microsoft.com/office/drawing/2014/main" id="{302FA71A-A6CE-84BE-0779-87611BF3098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1" name="Picture 10">
            <a:extLst>
              <a:ext uri="{FF2B5EF4-FFF2-40B4-BE49-F238E27FC236}">
                <a16:creationId xmlns:a16="http://schemas.microsoft.com/office/drawing/2014/main" id="{66992041-2E44-830E-9B4D-CC831B5884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Oval 14">
            <a:extLst>
              <a:ext uri="{FF2B5EF4-FFF2-40B4-BE49-F238E27FC236}">
                <a16:creationId xmlns:a16="http://schemas.microsoft.com/office/drawing/2014/main" id="{CC5A56EF-1A21-82AD-26F4-AD25B26B9C21}"/>
              </a:ext>
            </a:extLst>
          </p:cNvPr>
          <p:cNvSpPr/>
          <p:nvPr userDrawn="1"/>
        </p:nvSpPr>
        <p:spPr>
          <a:xfrm>
            <a:off x="574113" y="1595116"/>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9" name="Oval 18">
            <a:extLst>
              <a:ext uri="{FF2B5EF4-FFF2-40B4-BE49-F238E27FC236}">
                <a16:creationId xmlns:a16="http://schemas.microsoft.com/office/drawing/2014/main" id="{7AB39687-243F-84A7-643F-A2F8F7880F64}"/>
              </a:ext>
            </a:extLst>
          </p:cNvPr>
          <p:cNvSpPr/>
          <p:nvPr userDrawn="1"/>
        </p:nvSpPr>
        <p:spPr>
          <a:xfrm>
            <a:off x="574113" y="2698558"/>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0" name="Oval 19">
            <a:extLst>
              <a:ext uri="{FF2B5EF4-FFF2-40B4-BE49-F238E27FC236}">
                <a16:creationId xmlns:a16="http://schemas.microsoft.com/office/drawing/2014/main" id="{99DBC6DF-3804-73AD-1958-B7CBBCBD79B5}"/>
              </a:ext>
            </a:extLst>
          </p:cNvPr>
          <p:cNvSpPr/>
          <p:nvPr userDrawn="1"/>
        </p:nvSpPr>
        <p:spPr>
          <a:xfrm>
            <a:off x="574113" y="3802000"/>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1" name="Oval 20">
            <a:extLst>
              <a:ext uri="{FF2B5EF4-FFF2-40B4-BE49-F238E27FC236}">
                <a16:creationId xmlns:a16="http://schemas.microsoft.com/office/drawing/2014/main" id="{56D86F31-4495-6B25-4CD2-07C6B2095788}"/>
              </a:ext>
            </a:extLst>
          </p:cNvPr>
          <p:cNvSpPr/>
          <p:nvPr userDrawn="1"/>
        </p:nvSpPr>
        <p:spPr>
          <a:xfrm>
            <a:off x="574113" y="4905441"/>
            <a:ext cx="298765" cy="2987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3" name="TextBox 22">
            <a:extLst>
              <a:ext uri="{FF2B5EF4-FFF2-40B4-BE49-F238E27FC236}">
                <a16:creationId xmlns:a16="http://schemas.microsoft.com/office/drawing/2014/main" id="{C9DA58AF-B45C-10F5-1233-2C09BC2B9B5B}"/>
              </a:ext>
            </a:extLst>
          </p:cNvPr>
          <p:cNvSpPr txBox="1"/>
          <p:nvPr userDrawn="1"/>
        </p:nvSpPr>
        <p:spPr>
          <a:xfrm>
            <a:off x="574113" y="1613693"/>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1</a:t>
            </a:r>
          </a:p>
        </p:txBody>
      </p:sp>
      <p:sp>
        <p:nvSpPr>
          <p:cNvPr id="24" name="TextBox 23">
            <a:extLst>
              <a:ext uri="{FF2B5EF4-FFF2-40B4-BE49-F238E27FC236}">
                <a16:creationId xmlns:a16="http://schemas.microsoft.com/office/drawing/2014/main" id="{EAEE2D8E-6E02-8479-8FDD-66629420728B}"/>
              </a:ext>
            </a:extLst>
          </p:cNvPr>
          <p:cNvSpPr txBox="1"/>
          <p:nvPr userDrawn="1"/>
        </p:nvSpPr>
        <p:spPr>
          <a:xfrm>
            <a:off x="573242" y="2717135"/>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2</a:t>
            </a:r>
          </a:p>
        </p:txBody>
      </p:sp>
      <p:sp>
        <p:nvSpPr>
          <p:cNvPr id="25" name="TextBox 24">
            <a:extLst>
              <a:ext uri="{FF2B5EF4-FFF2-40B4-BE49-F238E27FC236}">
                <a16:creationId xmlns:a16="http://schemas.microsoft.com/office/drawing/2014/main" id="{2FA8D5CE-C6CC-893E-086D-8FFA985F598E}"/>
              </a:ext>
            </a:extLst>
          </p:cNvPr>
          <p:cNvSpPr txBox="1"/>
          <p:nvPr userDrawn="1"/>
        </p:nvSpPr>
        <p:spPr>
          <a:xfrm>
            <a:off x="572371" y="3820577"/>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3</a:t>
            </a:r>
          </a:p>
        </p:txBody>
      </p:sp>
      <p:sp>
        <p:nvSpPr>
          <p:cNvPr id="26" name="TextBox 25">
            <a:extLst>
              <a:ext uri="{FF2B5EF4-FFF2-40B4-BE49-F238E27FC236}">
                <a16:creationId xmlns:a16="http://schemas.microsoft.com/office/drawing/2014/main" id="{0CF7E23B-1177-A7E3-BB37-80E5E77EC106}"/>
              </a:ext>
            </a:extLst>
          </p:cNvPr>
          <p:cNvSpPr txBox="1"/>
          <p:nvPr userDrawn="1"/>
        </p:nvSpPr>
        <p:spPr>
          <a:xfrm>
            <a:off x="571500" y="4924019"/>
            <a:ext cx="298765" cy="261610"/>
          </a:xfrm>
          <a:prstGeom prst="rect">
            <a:avLst/>
          </a:prstGeom>
          <a:noFill/>
        </p:spPr>
        <p:txBody>
          <a:bodyPr wrap="square" rtlCol="0">
            <a:spAutoFit/>
          </a:bodyPr>
          <a:lstStyle/>
          <a:p>
            <a:pPr algn="ctr"/>
            <a:r>
              <a:rPr lang="en-US" sz="1100" b="1" dirty="0">
                <a:solidFill>
                  <a:srgbClr val="FFFFFF"/>
                </a:solidFill>
                <a:latin typeface="Segoe UI" panose="020B0502040204020203" pitchFamily="34" charset="0"/>
                <a:cs typeface="Segoe UI" panose="020B0502040204020203" pitchFamily="34" charset="0"/>
              </a:rPr>
              <a:t>4</a:t>
            </a:r>
          </a:p>
        </p:txBody>
      </p:sp>
      <p:sp>
        <p:nvSpPr>
          <p:cNvPr id="30" name="Text Placeholder 2">
            <a:extLst>
              <a:ext uri="{FF2B5EF4-FFF2-40B4-BE49-F238E27FC236}">
                <a16:creationId xmlns:a16="http://schemas.microsoft.com/office/drawing/2014/main" id="{B079D1C1-243A-C65D-C355-3EA60A04817A}"/>
              </a:ext>
            </a:extLst>
          </p:cNvPr>
          <p:cNvSpPr>
            <a:spLocks noGrp="1"/>
          </p:cNvSpPr>
          <p:nvPr>
            <p:ph idx="1" hasCustomPrompt="1"/>
          </p:nvPr>
        </p:nvSpPr>
        <p:spPr>
          <a:xfrm>
            <a:off x="869393" y="1461077"/>
            <a:ext cx="10748494"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1" name="Text Placeholder 2">
            <a:extLst>
              <a:ext uri="{FF2B5EF4-FFF2-40B4-BE49-F238E27FC236}">
                <a16:creationId xmlns:a16="http://schemas.microsoft.com/office/drawing/2014/main" id="{00C73C6D-2072-F601-982C-3ED0A7FD244E}"/>
              </a:ext>
            </a:extLst>
          </p:cNvPr>
          <p:cNvSpPr>
            <a:spLocks noGrp="1"/>
          </p:cNvSpPr>
          <p:nvPr>
            <p:ph idx="10" hasCustomPrompt="1"/>
          </p:nvPr>
        </p:nvSpPr>
        <p:spPr>
          <a:xfrm>
            <a:off x="869393" y="2570156"/>
            <a:ext cx="10747590"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2" name="Text Placeholder 2">
            <a:extLst>
              <a:ext uri="{FF2B5EF4-FFF2-40B4-BE49-F238E27FC236}">
                <a16:creationId xmlns:a16="http://schemas.microsoft.com/office/drawing/2014/main" id="{79767D98-E98C-43FE-D8D2-3A4C8C4D155A}"/>
              </a:ext>
            </a:extLst>
          </p:cNvPr>
          <p:cNvSpPr>
            <a:spLocks noGrp="1"/>
          </p:cNvSpPr>
          <p:nvPr>
            <p:ph idx="11" hasCustomPrompt="1"/>
          </p:nvPr>
        </p:nvSpPr>
        <p:spPr>
          <a:xfrm>
            <a:off x="870265" y="3663868"/>
            <a:ext cx="10747590"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3" name="Text Placeholder 2">
            <a:extLst>
              <a:ext uri="{FF2B5EF4-FFF2-40B4-BE49-F238E27FC236}">
                <a16:creationId xmlns:a16="http://schemas.microsoft.com/office/drawing/2014/main" id="{124D6786-28F5-F83E-E1E0-E4D41C616AAF}"/>
              </a:ext>
            </a:extLst>
          </p:cNvPr>
          <p:cNvSpPr>
            <a:spLocks noGrp="1"/>
          </p:cNvSpPr>
          <p:nvPr>
            <p:ph idx="12" hasCustomPrompt="1"/>
          </p:nvPr>
        </p:nvSpPr>
        <p:spPr>
          <a:xfrm>
            <a:off x="869393" y="4773560"/>
            <a:ext cx="10747590" cy="559490"/>
          </a:xfrm>
          <a:prstGeom prst="rect">
            <a:avLst/>
          </a:prstGeom>
        </p:spPr>
        <p:txBody>
          <a:bodyPr vert="horz" lIns="91440" tIns="45720" rIns="91440" bIns="45720" rtlCol="0" anchor="ctr">
            <a:normAutofit/>
          </a:bodyPr>
          <a:lstStyle>
            <a:lvl1pPr marL="0" indent="0">
              <a:buNone/>
              <a:defRPr sz="1600">
                <a:solidFill>
                  <a:schemeClr val="bg2">
                    <a:lumMod val="10000"/>
                  </a:schemeClr>
                </a:solidFill>
                <a:latin typeface="Segoe UI" panose="020B0502040204020203" pitchFamily="34" charset="0"/>
                <a:cs typeface="Segoe UI" panose="020B0502040204020203" pitchFamily="34" charset="0"/>
              </a:defRPr>
            </a:lvl1pPr>
          </a:lstStyle>
          <a:p>
            <a:pPr lvl="0"/>
            <a:r>
              <a:rPr lang="en-GB" dirty="0"/>
              <a:t>Click to add text</a:t>
            </a:r>
          </a:p>
        </p:txBody>
      </p:sp>
      <p:sp>
        <p:nvSpPr>
          <p:cNvPr id="34" name="Title Placeholder 1">
            <a:extLst>
              <a:ext uri="{FF2B5EF4-FFF2-40B4-BE49-F238E27FC236}">
                <a16:creationId xmlns:a16="http://schemas.microsoft.com/office/drawing/2014/main" id="{AAD8FA1E-AE3F-5594-9FA9-7A273973DEFD}"/>
              </a:ext>
            </a:extLst>
          </p:cNvPr>
          <p:cNvSpPr>
            <a:spLocks noGrp="1"/>
          </p:cNvSpPr>
          <p:nvPr>
            <p:ph type="title" hasCustomPrompt="1"/>
          </p:nvPr>
        </p:nvSpPr>
        <p:spPr>
          <a:xfrm>
            <a:off x="571500" y="589113"/>
            <a:ext cx="11055682" cy="643519"/>
          </a:xfrm>
          <a:prstGeom prst="rect">
            <a:avLst/>
          </a:prstGeom>
        </p:spPr>
        <p:txBody>
          <a:bodyPr vert="horz" lIns="0" tIns="0" rIns="0" bIns="0" rtlCol="0" anchor="t">
            <a:normAutofit/>
          </a:bodyPr>
          <a:lstStyle>
            <a:lvl1pPr>
              <a:defRPr sz="3200">
                <a:solidFill>
                  <a:schemeClr val="accent2"/>
                </a:solidFill>
                <a:latin typeface="Segoe UI" panose="020B0502040204020203" pitchFamily="34" charset="0"/>
              </a:defRPr>
            </a:lvl1pPr>
          </a:lstStyle>
          <a:p>
            <a:r>
              <a:rPr lang="en-GB" dirty="0"/>
              <a:t>Click To Edit Master Title Style</a:t>
            </a:r>
            <a:endParaRPr lang="en-US" dirty="0"/>
          </a:p>
        </p:txBody>
      </p:sp>
      <p:sp>
        <p:nvSpPr>
          <p:cNvPr id="27" name="Rectangle 26">
            <a:extLst>
              <a:ext uri="{FF2B5EF4-FFF2-40B4-BE49-F238E27FC236}">
                <a16:creationId xmlns:a16="http://schemas.microsoft.com/office/drawing/2014/main" id="{FE9B7BB3-F60F-923E-F940-CAB7A1BCA870}"/>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7922493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 Imag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36EDE6-1A1C-945C-12F2-F67131F5EEC2}"/>
              </a:ext>
            </a:extLst>
          </p:cNvPr>
          <p:cNvSpPr/>
          <p:nvPr userDrawn="1"/>
        </p:nvSpPr>
        <p:spPr>
          <a:xfrm>
            <a:off x="0" y="-1"/>
            <a:ext cx="6862764"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latin typeface="Segoe UI" panose="020B0502040204020203" pitchFamily="34" charset="0"/>
            </a:endParaRPr>
          </a:p>
        </p:txBody>
      </p:sp>
      <p:sp>
        <p:nvSpPr>
          <p:cNvPr id="2" name="Title 1"/>
          <p:cNvSpPr>
            <a:spLocks noGrp="1"/>
          </p:cNvSpPr>
          <p:nvPr>
            <p:ph type="title" hasCustomPrompt="1"/>
          </p:nvPr>
        </p:nvSpPr>
        <p:spPr>
          <a:xfrm>
            <a:off x="571500" y="571500"/>
            <a:ext cx="5329237" cy="989595"/>
          </a:xfrm>
          <a:prstGeom prst="rect">
            <a:avLst/>
          </a:prstGeom>
        </p:spPr>
        <p:txBody>
          <a:bodyPr lIns="0" anchor="t"/>
          <a:lstStyle>
            <a:lvl1pPr algn="l">
              <a:defRPr>
                <a:solidFill>
                  <a:srgbClr val="FFFFFF"/>
                </a:solidFill>
                <a:latin typeface="Segoe UI" panose="020B0502040204020203" pitchFamily="34" charset="0"/>
              </a:defRPr>
            </a:lvl1pPr>
          </a:lstStyle>
          <a:p>
            <a:r>
              <a:rPr lang="en-GB" dirty="0"/>
              <a:t>Click To Add Text</a:t>
            </a:r>
            <a:endParaRPr lang="en-US" dirty="0"/>
          </a:p>
        </p:txBody>
      </p:sp>
      <p:sp>
        <p:nvSpPr>
          <p:cNvPr id="18" name="Picture Placeholder 17">
            <a:extLst>
              <a:ext uri="{FF2B5EF4-FFF2-40B4-BE49-F238E27FC236}">
                <a16:creationId xmlns:a16="http://schemas.microsoft.com/office/drawing/2014/main" id="{16C59E26-BF91-1883-7F15-A3B667B51486}"/>
              </a:ext>
            </a:extLst>
          </p:cNvPr>
          <p:cNvSpPr>
            <a:spLocks noGrp="1"/>
          </p:cNvSpPr>
          <p:nvPr>
            <p:ph type="pic" sz="quarter" idx="10"/>
          </p:nvPr>
        </p:nvSpPr>
        <p:spPr>
          <a:xfrm>
            <a:off x="6862764" y="-2"/>
            <a:ext cx="5329236" cy="6858001"/>
          </a:xfrm>
          <a:prstGeom prst="rect">
            <a:avLst/>
          </a:prstGeom>
        </p:spPr>
        <p:txBody>
          <a:bodyPr/>
          <a:lstStyle/>
          <a:p>
            <a:endParaRPr lang="en-US"/>
          </a:p>
        </p:txBody>
      </p:sp>
      <p:pic>
        <p:nvPicPr>
          <p:cNvPr id="12" name="Picture 11">
            <a:extLst>
              <a:ext uri="{FF2B5EF4-FFF2-40B4-BE49-F238E27FC236}">
                <a16:creationId xmlns:a16="http://schemas.microsoft.com/office/drawing/2014/main" id="{66B9DA9F-24BE-6E78-2104-11C1A9DF07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6" name="Text Placeholder 3">
            <a:extLst>
              <a:ext uri="{FF2B5EF4-FFF2-40B4-BE49-F238E27FC236}">
                <a16:creationId xmlns:a16="http://schemas.microsoft.com/office/drawing/2014/main" id="{50FD9A30-2563-28B9-3D4D-21B0B6F06632}"/>
              </a:ext>
            </a:extLst>
          </p:cNvPr>
          <p:cNvSpPr>
            <a:spLocks noGrp="1"/>
          </p:cNvSpPr>
          <p:nvPr>
            <p:ph type="body" sz="quarter" idx="11"/>
          </p:nvPr>
        </p:nvSpPr>
        <p:spPr>
          <a:xfrm>
            <a:off x="571500" y="1561094"/>
            <a:ext cx="5329237" cy="4424097"/>
          </a:xfrm>
          <a:prstGeom prst="rect">
            <a:avLst/>
          </a:prstGeom>
        </p:spPr>
        <p:txBody>
          <a:bodyPr anchor="t"/>
          <a:lstStyle>
            <a:lvl1pPr>
              <a:buClr>
                <a:schemeClr val="accent1"/>
              </a:buClr>
              <a:defRPr sz="2000">
                <a:solidFill>
                  <a:schemeClr val="bg1"/>
                </a:solidFill>
              </a:defRPr>
            </a:lvl1pPr>
            <a:lvl2pPr>
              <a:buClr>
                <a:schemeClr val="accent1"/>
              </a:buClr>
              <a:defRPr sz="1800">
                <a:solidFill>
                  <a:schemeClr val="bg1"/>
                </a:solidFill>
              </a:defRPr>
            </a:lvl2pPr>
            <a:lvl3pPr>
              <a:buClr>
                <a:schemeClr val="accent1"/>
              </a:buClr>
              <a:defRPr sz="1600">
                <a:solidFill>
                  <a:schemeClr val="bg1"/>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23345524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 Imag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DAD774-DB30-D585-E48E-2D2CDDE43DCF}"/>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7" name="Title 1">
            <a:extLst>
              <a:ext uri="{FF2B5EF4-FFF2-40B4-BE49-F238E27FC236}">
                <a16:creationId xmlns:a16="http://schemas.microsoft.com/office/drawing/2014/main" id="{0096BB3D-1A40-0BEC-B72C-46849337B851}"/>
              </a:ext>
            </a:extLst>
          </p:cNvPr>
          <p:cNvSpPr>
            <a:spLocks noGrp="1"/>
          </p:cNvSpPr>
          <p:nvPr>
            <p:ph type="title" hasCustomPrompt="1"/>
          </p:nvPr>
        </p:nvSpPr>
        <p:spPr>
          <a:xfrm>
            <a:off x="571500" y="2853111"/>
            <a:ext cx="11049000" cy="990500"/>
          </a:xfrm>
          <a:prstGeom prst="rect">
            <a:avLst/>
          </a:prstGeom>
        </p:spPr>
        <p:txBody>
          <a:bodyPr lIns="0" anchor="ctr"/>
          <a:lstStyle>
            <a:lvl1pPr algn="l">
              <a:defRPr sz="2800">
                <a:solidFill>
                  <a:schemeClr val="accent2"/>
                </a:solidFill>
                <a:latin typeface="Segoe UI" panose="020B0502040204020203" pitchFamily="34" charset="0"/>
              </a:defRPr>
            </a:lvl1pPr>
          </a:lstStyle>
          <a:p>
            <a:r>
              <a:rPr lang="en-GB" dirty="0"/>
              <a:t>Click To Add Text</a:t>
            </a:r>
            <a:endParaRPr lang="en-US" dirty="0"/>
          </a:p>
        </p:txBody>
      </p:sp>
      <p:sp>
        <p:nvSpPr>
          <p:cNvPr id="8" name="Picture Placeholder 17">
            <a:extLst>
              <a:ext uri="{FF2B5EF4-FFF2-40B4-BE49-F238E27FC236}">
                <a16:creationId xmlns:a16="http://schemas.microsoft.com/office/drawing/2014/main" id="{6321A635-EE39-0E8C-6B7D-D62D8FA88418}"/>
              </a:ext>
            </a:extLst>
          </p:cNvPr>
          <p:cNvSpPr>
            <a:spLocks noGrp="1"/>
          </p:cNvSpPr>
          <p:nvPr>
            <p:ph type="pic" sz="quarter" idx="10"/>
          </p:nvPr>
        </p:nvSpPr>
        <p:spPr>
          <a:xfrm>
            <a:off x="0" y="-1"/>
            <a:ext cx="12192000" cy="2705877"/>
          </a:xfrm>
          <a:prstGeom prst="rect">
            <a:avLst/>
          </a:prstGeom>
        </p:spPr>
        <p:txBody>
          <a:bodyPr/>
          <a:lstStyle/>
          <a:p>
            <a:endParaRPr lang="en-US"/>
          </a:p>
        </p:txBody>
      </p:sp>
      <p:sp>
        <p:nvSpPr>
          <p:cNvPr id="9" name="Slide Number Placeholder 5">
            <a:extLst>
              <a:ext uri="{FF2B5EF4-FFF2-40B4-BE49-F238E27FC236}">
                <a16:creationId xmlns:a16="http://schemas.microsoft.com/office/drawing/2014/main" id="{6DF14B20-BDDE-DF87-5A03-AC34CC60A582}"/>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solidFill>
                  <a:srgbClr val="FFFFFF"/>
                </a:solidFill>
              </a:rPr>
              <a:pPr/>
              <a:t>‹#›</a:t>
            </a:fld>
            <a:endParaRPr lang="en-US" sz="1000" dirty="0">
              <a:solidFill>
                <a:srgbClr val="FFFFFF"/>
              </a:solidFill>
            </a:endParaRPr>
          </a:p>
        </p:txBody>
      </p:sp>
      <p:pic>
        <p:nvPicPr>
          <p:cNvPr id="11" name="Picture 10">
            <a:extLst>
              <a:ext uri="{FF2B5EF4-FFF2-40B4-BE49-F238E27FC236}">
                <a16:creationId xmlns:a16="http://schemas.microsoft.com/office/drawing/2014/main" id="{2954A5C7-00DA-FFFB-1826-FE063204CD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3" name="Text Placeholder 3">
            <a:extLst>
              <a:ext uri="{FF2B5EF4-FFF2-40B4-BE49-F238E27FC236}">
                <a16:creationId xmlns:a16="http://schemas.microsoft.com/office/drawing/2014/main" id="{73267F02-CCE3-A629-3F8A-2C4701E1C056}"/>
              </a:ext>
            </a:extLst>
          </p:cNvPr>
          <p:cNvSpPr>
            <a:spLocks noGrp="1"/>
          </p:cNvSpPr>
          <p:nvPr>
            <p:ph type="body" sz="quarter" idx="11"/>
          </p:nvPr>
        </p:nvSpPr>
        <p:spPr>
          <a:xfrm>
            <a:off x="571500" y="3937000"/>
            <a:ext cx="11049000" cy="202142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Tree>
    <p:extLst>
      <p:ext uri="{BB962C8B-B14F-4D97-AF65-F5344CB8AC3E}">
        <p14:creationId xmlns:p14="http://schemas.microsoft.com/office/powerpoint/2010/main" val="6762579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ouble side Content ">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F38FDCDA-E94F-5F80-1739-1076B213EFA0}"/>
              </a:ext>
            </a:extLst>
          </p:cNvPr>
          <p:cNvSpPr>
            <a:spLocks noGrp="1"/>
          </p:cNvSpPr>
          <p:nvPr>
            <p:ph type="sldNum" sz="quarter" idx="12"/>
          </p:nvPr>
        </p:nvSpPr>
        <p:spPr>
          <a:xfrm>
            <a:off x="10641466" y="6486863"/>
            <a:ext cx="874032" cy="365125"/>
          </a:xfrm>
          <a:prstGeom prst="rect">
            <a:avLst/>
          </a:prstGeom>
        </p:spPr>
        <p:txBody>
          <a:bodyPr/>
          <a:lstStyle>
            <a:lvl1pPr>
              <a:defRPr>
                <a:latin typeface="Segoe UI" panose="020B0502040204020203" pitchFamily="34" charset="0"/>
              </a:defRPr>
            </a:lvl1pPr>
          </a:lstStyle>
          <a:p>
            <a:fld id="{48F63A3B-78C7-47BE-AE5E-E10140E04643}" type="slidenum">
              <a:rPr lang="en-US" smtClean="0"/>
              <a:pPr/>
              <a:t>‹#›</a:t>
            </a:fld>
            <a:endParaRPr lang="en-US" dirty="0"/>
          </a:p>
        </p:txBody>
      </p:sp>
      <p:sp>
        <p:nvSpPr>
          <p:cNvPr id="9" name="Title Placeholder 1">
            <a:extLst>
              <a:ext uri="{FF2B5EF4-FFF2-40B4-BE49-F238E27FC236}">
                <a16:creationId xmlns:a16="http://schemas.microsoft.com/office/drawing/2014/main" id="{24633609-93A2-53EF-5DD4-A2F20CF60C97}"/>
              </a:ext>
            </a:extLst>
          </p:cNvPr>
          <p:cNvSpPr>
            <a:spLocks noGrp="1"/>
          </p:cNvSpPr>
          <p:nvPr>
            <p:ph type="title" hasCustomPrompt="1"/>
          </p:nvPr>
        </p:nvSpPr>
        <p:spPr>
          <a:xfrm>
            <a:off x="571500" y="593031"/>
            <a:ext cx="11049000" cy="594570"/>
          </a:xfrm>
          <a:prstGeom prst="rect">
            <a:avLst/>
          </a:prstGeom>
        </p:spPr>
        <p:txBody>
          <a:bodyPr vert="horz" lIns="0" tIns="0" rIns="0" bIns="0" rtlCol="0" anchor="t">
            <a:normAutofit/>
          </a:bodyPr>
          <a:lstStyle>
            <a:lvl1pPr>
              <a:defRPr sz="3200">
                <a:solidFill>
                  <a:schemeClr val="accent2"/>
                </a:solidFill>
                <a:latin typeface="Segoe UI" panose="020B0502040204020203" pitchFamily="34" charset="0"/>
              </a:defRPr>
            </a:lvl1pPr>
          </a:lstStyle>
          <a:p>
            <a:r>
              <a:rPr lang="en-GB" dirty="0"/>
              <a:t>Click To Edit Master Title Style</a:t>
            </a:r>
            <a:endParaRPr lang="en-US" dirty="0"/>
          </a:p>
        </p:txBody>
      </p:sp>
      <p:sp>
        <p:nvSpPr>
          <p:cNvPr id="10" name="Rectangle 9">
            <a:extLst>
              <a:ext uri="{FF2B5EF4-FFF2-40B4-BE49-F238E27FC236}">
                <a16:creationId xmlns:a16="http://schemas.microsoft.com/office/drawing/2014/main" id="{6CAAD997-7829-8011-41BC-4C8A3406F416}"/>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11" name="Slide Number Placeholder 5">
            <a:extLst>
              <a:ext uri="{FF2B5EF4-FFF2-40B4-BE49-F238E27FC236}">
                <a16:creationId xmlns:a16="http://schemas.microsoft.com/office/drawing/2014/main" id="{4F207CD3-FD04-9E29-E649-D7F8717E592D}"/>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3" name="Picture 12">
            <a:extLst>
              <a:ext uri="{FF2B5EF4-FFF2-40B4-BE49-F238E27FC236}">
                <a16:creationId xmlns:a16="http://schemas.microsoft.com/office/drawing/2014/main" id="{660A1290-B9A7-F6AD-C176-9D8D826A85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5" name="Text Placeholder 3">
            <a:extLst>
              <a:ext uri="{FF2B5EF4-FFF2-40B4-BE49-F238E27FC236}">
                <a16:creationId xmlns:a16="http://schemas.microsoft.com/office/drawing/2014/main" id="{492E9533-2BA6-CD8A-904E-24DB3A24F8EF}"/>
              </a:ext>
            </a:extLst>
          </p:cNvPr>
          <p:cNvSpPr>
            <a:spLocks noGrp="1"/>
          </p:cNvSpPr>
          <p:nvPr>
            <p:ph type="body" sz="quarter" idx="10"/>
          </p:nvPr>
        </p:nvSpPr>
        <p:spPr>
          <a:xfrm>
            <a:off x="571500" y="1342095"/>
            <a:ext cx="5329237"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6" name="Text Placeholder 3">
            <a:extLst>
              <a:ext uri="{FF2B5EF4-FFF2-40B4-BE49-F238E27FC236}">
                <a16:creationId xmlns:a16="http://schemas.microsoft.com/office/drawing/2014/main" id="{91A4214A-D157-FDFB-51C7-309D097F7D06}"/>
              </a:ext>
            </a:extLst>
          </p:cNvPr>
          <p:cNvSpPr>
            <a:spLocks noGrp="1"/>
          </p:cNvSpPr>
          <p:nvPr>
            <p:ph type="body" sz="quarter" idx="13"/>
          </p:nvPr>
        </p:nvSpPr>
        <p:spPr>
          <a:xfrm>
            <a:off x="6291263" y="1336082"/>
            <a:ext cx="5329237"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2" name="Rectangle 11">
            <a:extLst>
              <a:ext uri="{FF2B5EF4-FFF2-40B4-BE49-F238E27FC236}">
                <a16:creationId xmlns:a16="http://schemas.microsoft.com/office/drawing/2014/main" id="{2EF81579-5F73-5C9E-AB48-107F48F2E063}"/>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31514196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B31582-DC53-8888-9550-ADB8C6E3B394}"/>
              </a:ext>
            </a:extLst>
          </p:cNvPr>
          <p:cNvSpPr/>
          <p:nvPr userDrawn="1"/>
        </p:nvSpPr>
        <p:spPr>
          <a:xfrm>
            <a:off x="0" y="-1073"/>
            <a:ext cx="12192000" cy="5265738"/>
          </a:xfrm>
          <a:prstGeom prst="rect">
            <a:avLst/>
          </a:prstGeom>
          <a:solidFill>
            <a:schemeClr val="accent2"/>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egoe UI" panose="020B0502040204020203" pitchFamily="34" charset="0"/>
            </a:endParaRPr>
          </a:p>
        </p:txBody>
      </p:sp>
      <p:cxnSp>
        <p:nvCxnSpPr>
          <p:cNvPr id="4" name="Straight Connector 3">
            <a:extLst>
              <a:ext uri="{FF2B5EF4-FFF2-40B4-BE49-F238E27FC236}">
                <a16:creationId xmlns:a16="http://schemas.microsoft.com/office/drawing/2014/main" id="{00369DA3-CDC8-D666-2FED-B465C35E3852}"/>
              </a:ext>
            </a:extLst>
          </p:cNvPr>
          <p:cNvCxnSpPr>
            <a:cxnSpLocks/>
          </p:cNvCxnSpPr>
          <p:nvPr userDrawn="1"/>
        </p:nvCxnSpPr>
        <p:spPr>
          <a:xfrm>
            <a:off x="6182397" y="5591999"/>
            <a:ext cx="0" cy="96150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5C42AAF-00C2-BDB8-03DD-5BA4EC9603D6}"/>
              </a:ext>
            </a:extLst>
          </p:cNvPr>
          <p:cNvSpPr txBox="1"/>
          <p:nvPr userDrawn="1"/>
        </p:nvSpPr>
        <p:spPr>
          <a:xfrm>
            <a:off x="766763" y="1089025"/>
            <a:ext cx="10658475" cy="830997"/>
          </a:xfrm>
          <a:prstGeom prst="rect">
            <a:avLst/>
          </a:prstGeom>
          <a:noFill/>
        </p:spPr>
        <p:txBody>
          <a:bodyPr wrap="square" rtlCol="0">
            <a:spAutoFit/>
          </a:bodyPr>
          <a:lstStyle/>
          <a:p>
            <a:pPr algn="ctr"/>
            <a:r>
              <a:rPr lang="en-US" sz="4800" b="1" dirty="0">
                <a:solidFill>
                  <a:schemeClr val="bg1"/>
                </a:solidFill>
                <a:latin typeface="Segoe UI" panose="020B0502040204020203" pitchFamily="34" charset="0"/>
              </a:rPr>
              <a:t>Thank You!</a:t>
            </a:r>
            <a:endParaRPr lang="en-GB" sz="4800" b="1" dirty="0">
              <a:solidFill>
                <a:schemeClr val="bg1"/>
              </a:solidFill>
              <a:latin typeface="Segoe UI" panose="020B0502040204020203" pitchFamily="34" charset="0"/>
            </a:endParaRPr>
          </a:p>
        </p:txBody>
      </p:sp>
      <p:cxnSp>
        <p:nvCxnSpPr>
          <p:cNvPr id="6" name="Straight Connector 5">
            <a:extLst>
              <a:ext uri="{FF2B5EF4-FFF2-40B4-BE49-F238E27FC236}">
                <a16:creationId xmlns:a16="http://schemas.microsoft.com/office/drawing/2014/main" id="{A14D8F1F-5F17-CEE5-0EB8-2C5622199AE1}"/>
              </a:ext>
            </a:extLst>
          </p:cNvPr>
          <p:cNvCxnSpPr>
            <a:cxnSpLocks/>
          </p:cNvCxnSpPr>
          <p:nvPr userDrawn="1"/>
        </p:nvCxnSpPr>
        <p:spPr>
          <a:xfrm>
            <a:off x="0" y="5283715"/>
            <a:ext cx="121920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179840A4-B9C6-48BE-B8E2-28575BBECBE1}"/>
              </a:ext>
            </a:extLst>
          </p:cNvPr>
          <p:cNvSpPr>
            <a:spLocks noGrp="1"/>
          </p:cNvSpPr>
          <p:nvPr>
            <p:ph type="pic" sz="quarter" idx="10" hasCustomPrompt="1"/>
          </p:nvPr>
        </p:nvSpPr>
        <p:spPr>
          <a:xfrm>
            <a:off x="1943100" y="5695950"/>
            <a:ext cx="3381375" cy="790575"/>
          </a:xfrm>
          <a:prstGeom prst="rect">
            <a:avLst/>
          </a:prstGeom>
        </p:spPr>
        <p:txBody>
          <a:bodyPr anchor="ctr"/>
          <a:lstStyle>
            <a:lvl1pPr marL="0" indent="0" algn="ctr">
              <a:buNone/>
              <a:defRPr sz="2000"/>
            </a:lvl1pPr>
          </a:lstStyle>
          <a:p>
            <a:r>
              <a:rPr lang="en-US" dirty="0"/>
              <a:t>Logo</a:t>
            </a:r>
            <a:endParaRPr lang="en-GB" dirty="0"/>
          </a:p>
        </p:txBody>
      </p:sp>
      <p:sp>
        <p:nvSpPr>
          <p:cNvPr id="9" name="Picture Placeholder 7">
            <a:extLst>
              <a:ext uri="{FF2B5EF4-FFF2-40B4-BE49-F238E27FC236}">
                <a16:creationId xmlns:a16="http://schemas.microsoft.com/office/drawing/2014/main" id="{E44F1CE8-E5C7-5189-6159-2A52EF92399D}"/>
              </a:ext>
            </a:extLst>
          </p:cNvPr>
          <p:cNvSpPr>
            <a:spLocks noGrp="1"/>
          </p:cNvSpPr>
          <p:nvPr>
            <p:ph type="pic" sz="quarter" idx="11" hasCustomPrompt="1"/>
          </p:nvPr>
        </p:nvSpPr>
        <p:spPr>
          <a:xfrm>
            <a:off x="7040320" y="5695950"/>
            <a:ext cx="3381375" cy="790575"/>
          </a:xfrm>
          <a:prstGeom prst="rect">
            <a:avLst/>
          </a:prstGeom>
        </p:spPr>
        <p:txBody>
          <a:bodyPr anchor="ctr"/>
          <a:lstStyle>
            <a:lvl1pPr marL="0" indent="0" algn="ctr">
              <a:buNone/>
              <a:defRPr sz="2000"/>
            </a:lvl1pPr>
          </a:lstStyle>
          <a:p>
            <a:r>
              <a:rPr lang="en-US" dirty="0"/>
              <a:t>Logo</a:t>
            </a:r>
            <a:endParaRPr lang="en-GB" dirty="0"/>
          </a:p>
        </p:txBody>
      </p:sp>
      <p:sp>
        <p:nvSpPr>
          <p:cNvPr id="11" name="Text Placeholder 10">
            <a:extLst>
              <a:ext uri="{FF2B5EF4-FFF2-40B4-BE49-F238E27FC236}">
                <a16:creationId xmlns:a16="http://schemas.microsoft.com/office/drawing/2014/main" id="{3385E2CB-8B1B-6ED7-D1C4-901EA6872831}"/>
              </a:ext>
            </a:extLst>
          </p:cNvPr>
          <p:cNvSpPr>
            <a:spLocks noGrp="1"/>
          </p:cNvSpPr>
          <p:nvPr>
            <p:ph type="body" sz="quarter" idx="12" hasCustomPrompt="1"/>
          </p:nvPr>
        </p:nvSpPr>
        <p:spPr>
          <a:xfrm>
            <a:off x="766763" y="2276475"/>
            <a:ext cx="10658475" cy="2595563"/>
          </a:xfrm>
          <a:prstGeom prst="rect">
            <a:avLst/>
          </a:prstGeom>
        </p:spPr>
        <p:txBody>
          <a:bodyPr/>
          <a:lstStyle>
            <a:lvl1pPr marL="0" indent="0" algn="ctr">
              <a:buNone/>
              <a:defRPr>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Tree>
    <p:extLst>
      <p:ext uri="{BB962C8B-B14F-4D97-AF65-F5344CB8AC3E}">
        <p14:creationId xmlns:p14="http://schemas.microsoft.com/office/powerpoint/2010/main" val="9543364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hank you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B31582-DC53-8888-9550-ADB8C6E3B394}"/>
              </a:ext>
            </a:extLst>
          </p:cNvPr>
          <p:cNvSpPr/>
          <p:nvPr userDrawn="1"/>
        </p:nvSpPr>
        <p:spPr>
          <a:xfrm>
            <a:off x="0" y="-1074"/>
            <a:ext cx="12192000" cy="6859073"/>
          </a:xfrm>
          <a:prstGeom prst="rect">
            <a:avLst/>
          </a:prstGeom>
          <a:solidFill>
            <a:schemeClr val="accent2"/>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egoe UI" panose="020B0502040204020203" pitchFamily="34" charset="0"/>
            </a:endParaRPr>
          </a:p>
        </p:txBody>
      </p:sp>
      <p:cxnSp>
        <p:nvCxnSpPr>
          <p:cNvPr id="6" name="Straight Connector 5">
            <a:extLst>
              <a:ext uri="{FF2B5EF4-FFF2-40B4-BE49-F238E27FC236}">
                <a16:creationId xmlns:a16="http://schemas.microsoft.com/office/drawing/2014/main" id="{A14D8F1F-5F17-CEE5-0EB8-2C5622199AE1}"/>
              </a:ext>
            </a:extLst>
          </p:cNvPr>
          <p:cNvCxnSpPr>
            <a:cxnSpLocks/>
          </p:cNvCxnSpPr>
          <p:nvPr userDrawn="1"/>
        </p:nvCxnSpPr>
        <p:spPr>
          <a:xfrm>
            <a:off x="0" y="0"/>
            <a:ext cx="12192000"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10" name="Picture 9" descr="A picture containing text, clipart, tableware, dishware&#10;&#10;Description automatically generated">
            <a:extLst>
              <a:ext uri="{FF2B5EF4-FFF2-40B4-BE49-F238E27FC236}">
                <a16:creationId xmlns:a16="http://schemas.microsoft.com/office/drawing/2014/main" id="{2EF09E7A-AC14-7332-BDD3-BD195C92FE9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10025" y="1942197"/>
            <a:ext cx="4171950" cy="1857820"/>
          </a:xfrm>
          <a:prstGeom prst="rect">
            <a:avLst/>
          </a:prstGeom>
        </p:spPr>
      </p:pic>
      <p:sp>
        <p:nvSpPr>
          <p:cNvPr id="12" name="TextBox 11">
            <a:extLst>
              <a:ext uri="{FF2B5EF4-FFF2-40B4-BE49-F238E27FC236}">
                <a16:creationId xmlns:a16="http://schemas.microsoft.com/office/drawing/2014/main" id="{83D01E95-A925-8725-8206-C42B4B6E6EB2}"/>
              </a:ext>
            </a:extLst>
          </p:cNvPr>
          <p:cNvSpPr txBox="1"/>
          <p:nvPr userDrawn="1"/>
        </p:nvSpPr>
        <p:spPr>
          <a:xfrm>
            <a:off x="766763" y="3978674"/>
            <a:ext cx="10658475" cy="830997"/>
          </a:xfrm>
          <a:prstGeom prst="rect">
            <a:avLst/>
          </a:prstGeom>
          <a:noFill/>
        </p:spPr>
        <p:txBody>
          <a:bodyPr wrap="square" rtlCol="0">
            <a:spAutoFit/>
          </a:bodyPr>
          <a:lstStyle/>
          <a:p>
            <a:pPr algn="ctr"/>
            <a:r>
              <a:rPr lang="en-US" sz="4800" b="1" dirty="0">
                <a:solidFill>
                  <a:schemeClr val="accent1"/>
                </a:solidFill>
                <a:latin typeface="Segoe UI" panose="020B0502040204020203" pitchFamily="34" charset="0"/>
              </a:rPr>
              <a:t>Thank You!</a:t>
            </a:r>
            <a:endParaRPr lang="en-GB" sz="4800" b="1" dirty="0">
              <a:solidFill>
                <a:schemeClr val="accent1"/>
              </a:solidFill>
              <a:latin typeface="Segoe UI" panose="020B0502040204020203" pitchFamily="34" charset="0"/>
            </a:endParaRPr>
          </a:p>
        </p:txBody>
      </p:sp>
      <p:sp>
        <p:nvSpPr>
          <p:cNvPr id="13" name="Rectangle 12">
            <a:extLst>
              <a:ext uri="{FF2B5EF4-FFF2-40B4-BE49-F238E27FC236}">
                <a16:creationId xmlns:a16="http://schemas.microsoft.com/office/drawing/2014/main" id="{EF8F947C-1D63-6ADB-06E5-31BD25CC4E9B}"/>
              </a:ext>
            </a:extLst>
          </p:cNvPr>
          <p:cNvSpPr/>
          <p:nvPr userDrawn="1"/>
        </p:nvSpPr>
        <p:spPr>
          <a:xfrm flipV="1">
            <a:off x="0" y="6308724"/>
            <a:ext cx="12192000" cy="549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2767020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lain ">
    <p:spTree>
      <p:nvGrpSpPr>
        <p:cNvPr id="1" name=""/>
        <p:cNvGrpSpPr/>
        <p:nvPr/>
      </p:nvGrpSpPr>
      <p:grpSpPr>
        <a:xfrm>
          <a:off x="0" y="0"/>
          <a:ext cx="0" cy="0"/>
          <a:chOff x="0" y="0"/>
          <a:chExt cx="0" cy="0"/>
        </a:xfrm>
      </p:grpSpPr>
    </p:spTree>
    <p:extLst>
      <p:ext uri="{BB962C8B-B14F-4D97-AF65-F5344CB8AC3E}">
        <p14:creationId xmlns:p14="http://schemas.microsoft.com/office/powerpoint/2010/main" val="6725648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Plain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31CA7C-3C28-73A0-BC15-6971C8F7043E}"/>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Segoe UI" panose="020B0502040204020203" pitchFamily="34" charset="0"/>
            </a:endParaRPr>
          </a:p>
        </p:txBody>
      </p:sp>
      <p:sp>
        <p:nvSpPr>
          <p:cNvPr id="3" name="Slide Number Placeholder 5">
            <a:extLst>
              <a:ext uri="{FF2B5EF4-FFF2-40B4-BE49-F238E27FC236}">
                <a16:creationId xmlns:a16="http://schemas.microsoft.com/office/drawing/2014/main" id="{99D76805-50A3-9449-A31A-D8375B2EAADF}"/>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4" name="Picture 3">
            <a:extLst>
              <a:ext uri="{FF2B5EF4-FFF2-40B4-BE49-F238E27FC236}">
                <a16:creationId xmlns:a16="http://schemas.microsoft.com/office/drawing/2014/main" id="{7D760CC8-5C3F-BD83-7D50-5602ED4FB03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5" name="Rectangle 4">
            <a:extLst>
              <a:ext uri="{FF2B5EF4-FFF2-40B4-BE49-F238E27FC236}">
                <a16:creationId xmlns:a16="http://schemas.microsoft.com/office/drawing/2014/main" id="{14130E2A-D6B5-DE47-A151-F922EB2EB66D}"/>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Tree>
    <p:extLst>
      <p:ext uri="{BB962C8B-B14F-4D97-AF65-F5344CB8AC3E}">
        <p14:creationId xmlns:p14="http://schemas.microsoft.com/office/powerpoint/2010/main" val="1973090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Content (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641466" y="6486863"/>
            <a:ext cx="874032" cy="365125"/>
          </a:xfrm>
          <a:prstGeom prst="rect">
            <a:avLst/>
          </a:prstGeom>
        </p:spPr>
        <p:txBody>
          <a:bodyPr/>
          <a:lstStyle/>
          <a:p>
            <a:fld id="{48F63A3B-78C7-47BE-AE5E-E10140E04643}" type="slidenum">
              <a:rPr lang="en-US" smtClean="0"/>
              <a:t>‹#›</a:t>
            </a:fld>
            <a:endParaRPr lang="en-US" dirty="0"/>
          </a:p>
        </p:txBody>
      </p:sp>
      <p:sp>
        <p:nvSpPr>
          <p:cNvPr id="7" name="Title Placeholder 1">
            <a:extLst>
              <a:ext uri="{FF2B5EF4-FFF2-40B4-BE49-F238E27FC236}">
                <a16:creationId xmlns:a16="http://schemas.microsoft.com/office/drawing/2014/main" id="{C1C41FDF-9B76-7D0A-1C68-D0FCF07B78A3}"/>
              </a:ext>
            </a:extLst>
          </p:cNvPr>
          <p:cNvSpPr>
            <a:spLocks noGrp="1"/>
          </p:cNvSpPr>
          <p:nvPr>
            <p:ph type="title" hasCustomPrompt="1"/>
          </p:nvPr>
        </p:nvSpPr>
        <p:spPr>
          <a:xfrm>
            <a:off x="766763" y="185966"/>
            <a:ext cx="10658475" cy="903288"/>
          </a:xfrm>
          <a:prstGeom prst="rect">
            <a:avLst/>
          </a:prstGeom>
        </p:spPr>
        <p:txBody>
          <a:bodyPr vert="horz" lIns="0" tIns="0" rIns="0" bIns="0" rtlCol="0" anchor="b">
            <a:normAutofit/>
          </a:bodyPr>
          <a:lstStyle>
            <a:lvl1pPr>
              <a:defRPr sz="2800">
                <a:solidFill>
                  <a:schemeClr val="accent2"/>
                </a:solidFill>
              </a:defRPr>
            </a:lvl1pPr>
          </a:lstStyle>
          <a:p>
            <a:r>
              <a:rPr lang="en-GB" dirty="0"/>
              <a:t>Click To Edit Master Title Style</a:t>
            </a:r>
            <a:endParaRPr lang="en-US" dirty="0"/>
          </a:p>
        </p:txBody>
      </p:sp>
      <p:sp>
        <p:nvSpPr>
          <p:cNvPr id="9" name="Rectangle 8">
            <a:extLst>
              <a:ext uri="{FF2B5EF4-FFF2-40B4-BE49-F238E27FC236}">
                <a16:creationId xmlns:a16="http://schemas.microsoft.com/office/drawing/2014/main" id="{3AA6D883-AE04-E36A-F7C8-1E820C8A3461}"/>
              </a:ext>
            </a:extLst>
          </p:cNvPr>
          <p:cNvSpPr/>
          <p:nvPr userDrawn="1"/>
        </p:nvSpPr>
        <p:spPr>
          <a:xfrm>
            <a:off x="0" y="6308724"/>
            <a:ext cx="12192000" cy="5492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0" name="Slide Number Placeholder 5">
            <a:extLst>
              <a:ext uri="{FF2B5EF4-FFF2-40B4-BE49-F238E27FC236}">
                <a16:creationId xmlns:a16="http://schemas.microsoft.com/office/drawing/2014/main" id="{A17ABBA5-5935-6599-FBB6-1F7850D62FF5}"/>
              </a:ext>
            </a:extLst>
          </p:cNvPr>
          <p:cNvSpPr txBox="1">
            <a:spLocks/>
          </p:cNvSpPr>
          <p:nvPr userDrawn="1"/>
        </p:nvSpPr>
        <p:spPr>
          <a:xfrm>
            <a:off x="10641466" y="6401863"/>
            <a:ext cx="874032"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z="1000" smtClean="0"/>
              <a:pPr/>
              <a:t>‹#›</a:t>
            </a:fld>
            <a:endParaRPr lang="en-US" sz="1000" dirty="0"/>
          </a:p>
        </p:txBody>
      </p:sp>
      <p:pic>
        <p:nvPicPr>
          <p:cNvPr id="12" name="Picture 11">
            <a:extLst>
              <a:ext uri="{FF2B5EF4-FFF2-40B4-BE49-F238E27FC236}">
                <a16:creationId xmlns:a16="http://schemas.microsoft.com/office/drawing/2014/main" id="{2ED281DF-D073-2E40-29CD-43A41AD3B3E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5593" y="6441696"/>
            <a:ext cx="642280" cy="285458"/>
          </a:xfrm>
          <a:prstGeom prst="rect">
            <a:avLst/>
          </a:prstGeom>
        </p:spPr>
      </p:pic>
      <p:sp>
        <p:nvSpPr>
          <p:cNvPr id="14" name="Text Placeholder 3">
            <a:extLst>
              <a:ext uri="{FF2B5EF4-FFF2-40B4-BE49-F238E27FC236}">
                <a16:creationId xmlns:a16="http://schemas.microsoft.com/office/drawing/2014/main" id="{A283C466-F1F4-F23F-394E-F781051E37B8}"/>
              </a:ext>
            </a:extLst>
          </p:cNvPr>
          <p:cNvSpPr>
            <a:spLocks noGrp="1"/>
          </p:cNvSpPr>
          <p:nvPr>
            <p:ph type="body" sz="quarter" idx="10"/>
          </p:nvPr>
        </p:nvSpPr>
        <p:spPr>
          <a:xfrm>
            <a:off x="766763" y="1342095"/>
            <a:ext cx="10658475" cy="4514850"/>
          </a:xfrm>
          <a:prstGeom prst="rect">
            <a:avLst/>
          </a:prstGeom>
        </p:spPr>
        <p:txBody>
          <a:bodyPr/>
          <a:lstStyle>
            <a:lvl1pPr>
              <a:buClr>
                <a:schemeClr val="accent1"/>
              </a:buClr>
              <a:defRPr sz="2000">
                <a:solidFill>
                  <a:schemeClr val="bg2">
                    <a:lumMod val="10000"/>
                  </a:schemeClr>
                </a:solidFill>
              </a:defRPr>
            </a:lvl1pPr>
            <a:lvl2pPr>
              <a:buClr>
                <a:schemeClr val="accent1"/>
              </a:buClr>
              <a:defRPr sz="1800">
                <a:solidFill>
                  <a:schemeClr val="bg2">
                    <a:lumMod val="10000"/>
                  </a:schemeClr>
                </a:solidFill>
              </a:defRPr>
            </a:lvl2pPr>
            <a:lvl3pPr>
              <a:buClr>
                <a:schemeClr val="accent1"/>
              </a:buClr>
              <a:defRPr sz="1600">
                <a:solidFill>
                  <a:schemeClr val="bg2">
                    <a:lumMod val="10000"/>
                  </a:schemeClr>
                </a:solidFill>
              </a:defRPr>
            </a:lvl3pPr>
            <a:lvl4pPr>
              <a:defRPr>
                <a:solidFill>
                  <a:srgbClr val="FFFFFF"/>
                </a:solidFill>
              </a:defRPr>
            </a:lvl4pPr>
            <a:lvl5pPr>
              <a:defRPr>
                <a:solidFill>
                  <a:srgbClr val="FFFFFF"/>
                </a:solidFill>
              </a:defRPr>
            </a:lvl5pPr>
          </a:lstStyle>
          <a:p>
            <a:pPr lvl="0"/>
            <a:r>
              <a:rPr lang="en-GB" dirty="0"/>
              <a:t>Click to edit Master text styles</a:t>
            </a:r>
          </a:p>
          <a:p>
            <a:pPr lvl="1"/>
            <a:r>
              <a:rPr lang="en-GB" dirty="0"/>
              <a:t>Second level</a:t>
            </a:r>
          </a:p>
          <a:p>
            <a:pPr lvl="2"/>
            <a:r>
              <a:rPr lang="en-GB" dirty="0"/>
              <a:t>Third level</a:t>
            </a:r>
          </a:p>
        </p:txBody>
      </p:sp>
      <p:sp>
        <p:nvSpPr>
          <p:cNvPr id="15" name="Rectangle 14">
            <a:extLst>
              <a:ext uri="{FF2B5EF4-FFF2-40B4-BE49-F238E27FC236}">
                <a16:creationId xmlns:a16="http://schemas.microsoft.com/office/drawing/2014/main" id="{E7D1F402-3373-2FFA-CFF3-449B363FD525}"/>
              </a:ext>
            </a:extLst>
          </p:cNvPr>
          <p:cNvSpPr/>
          <p:nvPr userDrawn="1"/>
        </p:nvSpPr>
        <p:spPr>
          <a:xfrm>
            <a:off x="0" y="1"/>
            <a:ext cx="12192000" cy="548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95630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heme" Target="../theme/theme2.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heme" Target="../theme/theme3.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theme" Target="../theme/theme4.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377654"/>
      </p:ext>
    </p:extLst>
  </p:cSld>
  <p:clrMap bg1="lt1" tx1="dk1" bg2="lt2" tx2="dk2" accent1="accent1" accent2="accent2" accent3="accent3" accent4="accent4" accent5="accent5" accent6="accent6" hlink="hlink" folHlink="folHlink"/>
  <p:sldLayoutIdLst>
    <p:sldLayoutId id="2147483688" r:id="rId1"/>
    <p:sldLayoutId id="2147483694" r:id="rId2"/>
    <p:sldLayoutId id="2147483696" r:id="rId3"/>
    <p:sldLayoutId id="2147483697" r:id="rId4"/>
    <p:sldLayoutId id="2147483701" r:id="rId5"/>
    <p:sldLayoutId id="2147483695" r:id="rId6"/>
    <p:sldLayoutId id="2147483700" r:id="rId7"/>
    <p:sldLayoutId id="2147483704" r:id="rId8"/>
    <p:sldLayoutId id="2147483673" r:id="rId9"/>
    <p:sldLayoutId id="2147483698" r:id="rId10"/>
    <p:sldLayoutId id="2147483675" r:id="rId11"/>
    <p:sldLayoutId id="2147483686" r:id="rId12"/>
    <p:sldLayoutId id="2147483699" r:id="rId13"/>
    <p:sldLayoutId id="2147483703" r:id="rId14"/>
    <p:sldLayoutId id="2147483684" r:id="rId15"/>
    <p:sldLayoutId id="2147483691" r:id="rId16"/>
    <p:sldLayoutId id="2147483676" r:id="rId17"/>
    <p:sldLayoutId id="2147483685" r:id="rId18"/>
    <p:sldLayoutId id="2147483687" r:id="rId19"/>
    <p:sldLayoutId id="2147483679" r:id="rId20"/>
    <p:sldLayoutId id="2147483680" r:id="rId21"/>
    <p:sldLayoutId id="2147483690" r:id="rId22"/>
    <p:sldLayoutId id="2147483689" r:id="rId23"/>
    <p:sldLayoutId id="2147483726" r:id="rId24"/>
    <p:sldLayoutId id="2147483727" r:id="rId25"/>
  </p:sldLayoutIdLst>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1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SzPct val="60000"/>
        <a:buFont typeface="Courier New" panose="02070309020205020404" pitchFamily="49" charset="0"/>
        <a:buChar char="o"/>
        <a:defRPr sz="2000" kern="1200">
          <a:solidFill>
            <a:schemeClr val="bg2">
              <a:lumMod val="1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ystem Font Regular"/>
        <a:buChar char="-"/>
        <a:defRPr sz="1800" kern="1200">
          <a:solidFill>
            <a:schemeClr val="bg2">
              <a:lumMod val="1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97" userDrawn="1">
          <p15:clr>
            <a:srgbClr val="F26B43"/>
          </p15:clr>
        </p15:guide>
        <p15:guide id="2" orient="horz" pos="3974" userDrawn="1">
          <p15:clr>
            <a:srgbClr val="F26B43"/>
          </p15:clr>
        </p15:guide>
        <p15:guide id="3" orient="horz" pos="686" userDrawn="1">
          <p15:clr>
            <a:srgbClr val="F26B43"/>
          </p15:clr>
        </p15:guide>
        <p15:guide id="4" pos="4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D027DC-A675-39FD-07BF-AEA92450464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C700BBA-B520-C43A-2C2F-82D04D452E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1EAE2B-74BC-4D95-7876-129361B560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A0FA02-2387-9E48-B868-0B4649F87CFE}" type="datetimeFigureOut">
              <a:rPr lang="en-US" smtClean="0"/>
              <a:t>8/10/22</a:t>
            </a:fld>
            <a:endParaRPr lang="en-US"/>
          </a:p>
        </p:txBody>
      </p:sp>
      <p:sp>
        <p:nvSpPr>
          <p:cNvPr id="5" name="Footer Placeholder 4">
            <a:extLst>
              <a:ext uri="{FF2B5EF4-FFF2-40B4-BE49-F238E27FC236}">
                <a16:creationId xmlns:a16="http://schemas.microsoft.com/office/drawing/2014/main" id="{B0FE415B-1021-2A84-EC33-44024259B6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9482233-25CE-1A93-E659-6774AFC948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EAAEDD-DDD9-934A-A227-E48A03534A10}" type="slidenum">
              <a:rPr lang="en-US" smtClean="0"/>
              <a:t>‹#›</a:t>
            </a:fld>
            <a:endParaRPr lang="en-US"/>
          </a:p>
        </p:txBody>
      </p:sp>
    </p:spTree>
    <p:extLst>
      <p:ext uri="{BB962C8B-B14F-4D97-AF65-F5344CB8AC3E}">
        <p14:creationId xmlns:p14="http://schemas.microsoft.com/office/powerpoint/2010/main" val="2323732213"/>
      </p:ext>
    </p:extLst>
  </p:cSld>
  <p:clrMap bg1="lt1" tx1="dk1" bg2="lt2" tx2="dk2" accent1="accent1" accent2="accent2" accent3="accent3" accent4="accent4" accent5="accent5" accent6="accent6" hlink="hlink" folHlink="folHlink"/>
  <p:sldLayoutIdLst>
    <p:sldLayoutId id="2147483706"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74"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D027DC-A675-39FD-07BF-AEA92450464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C700BBA-B520-C43A-2C2F-82D04D452E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1EAE2B-74BC-4D95-7876-129361B560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egoe UI" panose="020B0502040204020203" pitchFamily="34" charset="0"/>
              </a:defRPr>
            </a:lvl1pPr>
          </a:lstStyle>
          <a:p>
            <a:fld id="{2AA0FA02-2387-9E48-B868-0B4649F87CFE}" type="datetimeFigureOut">
              <a:rPr lang="en-US" smtClean="0"/>
              <a:pPr/>
              <a:t>8/10/22</a:t>
            </a:fld>
            <a:endParaRPr lang="en-US" dirty="0"/>
          </a:p>
        </p:txBody>
      </p:sp>
      <p:sp>
        <p:nvSpPr>
          <p:cNvPr id="5" name="Footer Placeholder 4">
            <a:extLst>
              <a:ext uri="{FF2B5EF4-FFF2-40B4-BE49-F238E27FC236}">
                <a16:creationId xmlns:a16="http://schemas.microsoft.com/office/drawing/2014/main" id="{B0FE415B-1021-2A84-EC33-44024259B6F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99482233-25CE-1A93-E659-6774AFC948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egoe UI" panose="020B0502040204020203" pitchFamily="34" charset="0"/>
              </a:defRPr>
            </a:lvl1pPr>
          </a:lstStyle>
          <a:p>
            <a:fld id="{E9EAAEDD-DDD9-934A-A227-E48A03534A10}" type="slidenum">
              <a:rPr lang="en-US" smtClean="0"/>
              <a:pPr/>
              <a:t>‹#›</a:t>
            </a:fld>
            <a:endParaRPr lang="en-US" dirty="0"/>
          </a:p>
        </p:txBody>
      </p:sp>
    </p:spTree>
    <p:extLst>
      <p:ext uri="{BB962C8B-B14F-4D97-AF65-F5344CB8AC3E}">
        <p14:creationId xmlns:p14="http://schemas.microsoft.com/office/powerpoint/2010/main" val="1503097824"/>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Lst>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360">
          <p15:clr>
            <a:srgbClr val="F26B43"/>
          </p15:clr>
        </p15:guide>
        <p15:guide id="4" pos="3768">
          <p15:clr>
            <a:srgbClr val="F26B43"/>
          </p15:clr>
        </p15:guide>
        <p15:guide id="5" pos="3912">
          <p15:clr>
            <a:srgbClr val="F26B43"/>
          </p15:clr>
        </p15:guide>
        <p15:guide id="6" pos="7320">
          <p15:clr>
            <a:srgbClr val="F26B43"/>
          </p15:clr>
        </p15:guide>
        <p15:guide id="7" orient="horz">
          <p15:clr>
            <a:srgbClr val="F26B43"/>
          </p15:clr>
        </p15:guide>
        <p15:guide id="8" orient="horz" pos="4320">
          <p15:clr>
            <a:srgbClr val="F26B43"/>
          </p15:clr>
        </p15:guide>
        <p15:guide id="9" orient="horz" pos="360">
          <p15:clr>
            <a:srgbClr val="F26B43"/>
          </p15:clr>
        </p15:guide>
        <p15:guide id="10" orient="horz" pos="2088">
          <p15:clr>
            <a:srgbClr val="F26B43"/>
          </p15:clr>
        </p15:guide>
        <p15:guide id="11" orient="horz" pos="2232">
          <p15:clr>
            <a:srgbClr val="F26B43"/>
          </p15:clr>
        </p15:guide>
        <p15:guide id="12" orient="horz" pos="39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527893"/>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Lst>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1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SzPct val="60000"/>
        <a:buFont typeface="Courier New" panose="02070309020205020404" pitchFamily="49" charset="0"/>
        <a:buChar char="o"/>
        <a:defRPr sz="2000" kern="1200">
          <a:solidFill>
            <a:schemeClr val="bg2">
              <a:lumMod val="1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ystem Font Regular"/>
        <a:buChar char="-"/>
        <a:defRPr sz="1800" kern="1200">
          <a:solidFill>
            <a:schemeClr val="bg2">
              <a:lumMod val="1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360">
          <p15:clr>
            <a:srgbClr val="F26B43"/>
          </p15:clr>
        </p15:guide>
        <p15:guide id="4" pos="3768">
          <p15:clr>
            <a:srgbClr val="F26B43"/>
          </p15:clr>
        </p15:guide>
        <p15:guide id="5" pos="3912">
          <p15:clr>
            <a:srgbClr val="F26B43"/>
          </p15:clr>
        </p15:guide>
        <p15:guide id="6" pos="7320">
          <p15:clr>
            <a:srgbClr val="F26B43"/>
          </p15:clr>
        </p15:guide>
        <p15:guide id="7" orient="horz">
          <p15:clr>
            <a:srgbClr val="F26B43"/>
          </p15:clr>
        </p15:guide>
        <p15:guide id="8" orient="horz" pos="4320">
          <p15:clr>
            <a:srgbClr val="F26B43"/>
          </p15:clr>
        </p15:guide>
        <p15:guide id="9" orient="horz" pos="360">
          <p15:clr>
            <a:srgbClr val="F26B43"/>
          </p15:clr>
        </p15:guide>
        <p15:guide id="10" orient="horz" pos="2088">
          <p15:clr>
            <a:srgbClr val="F26B43"/>
          </p15:clr>
        </p15:guide>
        <p15:guide id="11" orient="horz" pos="2232">
          <p15:clr>
            <a:srgbClr val="F26B43"/>
          </p15:clr>
        </p15:guide>
        <p15:guide id="12" orient="horz" pos="39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0.jp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8.sv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Layout" Target="../slideLayouts/slideLayout13.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11.xml"/><Relationship Id="rId5" Type="http://schemas.openxmlformats.org/officeDocument/2006/relationships/image" Target="../media/image32.sv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8.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8.png"/><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2.xml"/><Relationship Id="rId18" Type="http://schemas.openxmlformats.org/officeDocument/2006/relationships/image" Target="../media/image13.sv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24.xml"/><Relationship Id="rId17" Type="http://schemas.openxmlformats.org/officeDocument/2006/relationships/image" Target="../media/image12.png"/><Relationship Id="rId2" Type="http://schemas.openxmlformats.org/officeDocument/2006/relationships/tags" Target="../tags/tag2.xml"/><Relationship Id="rId16" Type="http://schemas.openxmlformats.org/officeDocument/2006/relationships/chart" Target="../charts/chart1.xml"/><Relationship Id="rId20" Type="http://schemas.openxmlformats.org/officeDocument/2006/relationships/image" Target="../media/image15.sv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1.emf"/><Relationship Id="rId10" Type="http://schemas.openxmlformats.org/officeDocument/2006/relationships/tags" Target="../tags/tag10.xml"/><Relationship Id="rId19" Type="http://schemas.openxmlformats.org/officeDocument/2006/relationships/image" Target="../media/image14.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4.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8C7A88E-18F5-5C68-D906-643FCAB2C8E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5593" y="364702"/>
            <a:ext cx="642280" cy="285458"/>
          </a:xfrm>
          <a:prstGeom prst="rect">
            <a:avLst/>
          </a:prstGeom>
        </p:spPr>
      </p:pic>
      <p:cxnSp>
        <p:nvCxnSpPr>
          <p:cNvPr id="10" name="Straight Connector 9">
            <a:extLst>
              <a:ext uri="{FF2B5EF4-FFF2-40B4-BE49-F238E27FC236}">
                <a16:creationId xmlns:a16="http://schemas.microsoft.com/office/drawing/2014/main" id="{1983F8C2-CF12-8B82-8F9F-BB6720DCB559}"/>
              </a:ext>
            </a:extLst>
          </p:cNvPr>
          <p:cNvCxnSpPr/>
          <p:nvPr/>
        </p:nvCxnSpPr>
        <p:spPr>
          <a:xfrm>
            <a:off x="0" y="4046202"/>
            <a:ext cx="121920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8" name="Picture 17" descr="Logo&#10;&#10;Description automatically generated">
            <a:extLst>
              <a:ext uri="{FF2B5EF4-FFF2-40B4-BE49-F238E27FC236}">
                <a16:creationId xmlns:a16="http://schemas.microsoft.com/office/drawing/2014/main" id="{A0834B74-BC83-4148-29DA-E4B12A34560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28513" y="4749973"/>
            <a:ext cx="2847054" cy="1266528"/>
          </a:xfrm>
          <a:prstGeom prst="rect">
            <a:avLst/>
          </a:prstGeom>
        </p:spPr>
      </p:pic>
      <p:sp>
        <p:nvSpPr>
          <p:cNvPr id="5" name="Rectangle 4">
            <a:extLst>
              <a:ext uri="{FF2B5EF4-FFF2-40B4-BE49-F238E27FC236}">
                <a16:creationId xmlns:a16="http://schemas.microsoft.com/office/drawing/2014/main" id="{CDE31E23-7023-DFC2-5467-181942212B5A}"/>
              </a:ext>
            </a:extLst>
          </p:cNvPr>
          <p:cNvSpPr/>
          <p:nvPr/>
        </p:nvSpPr>
        <p:spPr>
          <a:xfrm>
            <a:off x="267286" y="5320553"/>
            <a:ext cx="5857589" cy="4161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6" name="Title 1">
            <a:extLst>
              <a:ext uri="{FF2B5EF4-FFF2-40B4-BE49-F238E27FC236}">
                <a16:creationId xmlns:a16="http://schemas.microsoft.com/office/drawing/2014/main" id="{0150C7FE-4E8B-577E-E65A-00CA5072D8A2}"/>
              </a:ext>
            </a:extLst>
          </p:cNvPr>
          <p:cNvSpPr txBox="1">
            <a:spLocks/>
          </p:cNvSpPr>
          <p:nvPr/>
        </p:nvSpPr>
        <p:spPr>
          <a:xfrm>
            <a:off x="155310" y="4252660"/>
            <a:ext cx="8334173" cy="703149"/>
          </a:xfrm>
          <a:prstGeom prst="rect">
            <a:avLst/>
          </a:prstGeom>
        </p:spPr>
        <p:txBody>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pPr>
              <a:lnSpc>
                <a:spcPct val="100000"/>
              </a:lnSpc>
            </a:pPr>
            <a:r>
              <a:rPr lang="en-US" sz="2800" dirty="0">
                <a:solidFill>
                  <a:srgbClr val="FFFFFF"/>
                </a:solidFill>
              </a:rPr>
              <a:t>Caring Enough to Find Out: The Importance of Assessment in Improving Student Achievement </a:t>
            </a:r>
          </a:p>
        </p:txBody>
      </p:sp>
      <p:sp>
        <p:nvSpPr>
          <p:cNvPr id="7" name="Subtitle 2">
            <a:extLst>
              <a:ext uri="{FF2B5EF4-FFF2-40B4-BE49-F238E27FC236}">
                <a16:creationId xmlns:a16="http://schemas.microsoft.com/office/drawing/2014/main" id="{8D41EE79-E212-A888-0282-F0B20C0DDD69}"/>
              </a:ext>
            </a:extLst>
          </p:cNvPr>
          <p:cNvSpPr txBox="1">
            <a:spLocks/>
          </p:cNvSpPr>
          <p:nvPr/>
        </p:nvSpPr>
        <p:spPr>
          <a:xfrm>
            <a:off x="245308" y="5344737"/>
            <a:ext cx="5857589" cy="126652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lumMod val="1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SzPct val="60000"/>
              <a:buFont typeface="Courier New" panose="02070309020205020404" pitchFamily="49" charset="0"/>
              <a:buChar char="o"/>
              <a:defRPr sz="2000" kern="1200">
                <a:solidFill>
                  <a:schemeClr val="bg2">
                    <a:lumMod val="1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ystem Font Regular"/>
              <a:buChar char="-"/>
              <a:defRPr sz="1800" kern="1200">
                <a:solidFill>
                  <a:schemeClr val="bg2">
                    <a:lumMod val="1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800" b="1" i="1" dirty="0">
                <a:solidFill>
                  <a:srgbClr val="FFFFFF"/>
                </a:solidFill>
              </a:rPr>
              <a:t>Margaret Spellings, President and CEO of Texas 2036 </a:t>
            </a:r>
          </a:p>
          <a:p>
            <a:pPr marL="0" indent="0">
              <a:lnSpc>
                <a:spcPct val="150000"/>
              </a:lnSpc>
              <a:spcBef>
                <a:spcPts val="0"/>
              </a:spcBef>
              <a:buNone/>
            </a:pPr>
            <a:r>
              <a:rPr lang="en-US" sz="1800" dirty="0">
                <a:solidFill>
                  <a:srgbClr val="FFFFFF"/>
                </a:solidFill>
              </a:rPr>
              <a:t>House Public Education Committee</a:t>
            </a:r>
          </a:p>
          <a:p>
            <a:pPr marL="0" indent="0">
              <a:lnSpc>
                <a:spcPct val="100000"/>
              </a:lnSpc>
              <a:spcBef>
                <a:spcPts val="0"/>
              </a:spcBef>
              <a:buNone/>
            </a:pPr>
            <a:r>
              <a:rPr lang="en-US" sz="2000" b="1" dirty="0">
                <a:solidFill>
                  <a:schemeClr val="accent1"/>
                </a:solidFill>
              </a:rPr>
              <a:t>August 2022</a:t>
            </a:r>
          </a:p>
        </p:txBody>
      </p:sp>
      <p:pic>
        <p:nvPicPr>
          <p:cNvPr id="12" name="Picture 11" descr="A person and several children sitting at a table&#10;&#10;Description automatically generated with low confidence">
            <a:extLst>
              <a:ext uri="{FF2B5EF4-FFF2-40B4-BE49-F238E27FC236}">
                <a16:creationId xmlns:a16="http://schemas.microsoft.com/office/drawing/2014/main" id="{E84EF87A-FE2E-72CD-EA6F-9676A2C742D4}"/>
              </a:ext>
            </a:extLst>
          </p:cNvPr>
          <p:cNvPicPr>
            <a:picLocks noChangeAspect="1"/>
          </p:cNvPicPr>
          <p:nvPr/>
        </p:nvPicPr>
        <p:blipFill rotWithShape="1">
          <a:blip r:embed="rId5"/>
          <a:srcRect l="176" t="11611" b="35633"/>
          <a:stretch/>
        </p:blipFill>
        <p:spPr>
          <a:xfrm>
            <a:off x="-1" y="0"/>
            <a:ext cx="12191999" cy="4046198"/>
          </a:xfrm>
          <a:prstGeom prst="rect">
            <a:avLst/>
          </a:prstGeom>
        </p:spPr>
      </p:pic>
    </p:spTree>
    <p:extLst>
      <p:ext uri="{BB962C8B-B14F-4D97-AF65-F5344CB8AC3E}">
        <p14:creationId xmlns:p14="http://schemas.microsoft.com/office/powerpoint/2010/main" val="42539166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300B776F-46C6-2DDC-99AB-C9411F0851BB}"/>
              </a:ext>
            </a:extLst>
          </p:cNvPr>
          <p:cNvSpPr>
            <a:spLocks noGrp="1"/>
          </p:cNvSpPr>
          <p:nvPr>
            <p:ph idx="1"/>
          </p:nvPr>
        </p:nvSpPr>
        <p:spPr>
          <a:xfrm>
            <a:off x="1555459" y="1648538"/>
            <a:ext cx="9876356" cy="611287"/>
          </a:xfrm>
        </p:spPr>
        <p:txBody>
          <a:bodyPr/>
          <a:lstStyle/>
          <a:p>
            <a:r>
              <a:rPr lang="en-US" b="1" spc="100" dirty="0">
                <a:solidFill>
                  <a:srgbClr val="F26851"/>
                </a:solidFill>
              </a:rPr>
              <a:t>Validity</a:t>
            </a:r>
            <a:r>
              <a:rPr lang="en-US" spc="100" dirty="0">
                <a:solidFill>
                  <a:schemeClr val="tx1"/>
                </a:solidFill>
              </a:rPr>
              <a:t> is the degree to which conclusions based on test results are appropriate and meaningful. A valid assessment is a good representation of the standards it measures. </a:t>
            </a:r>
          </a:p>
          <a:p>
            <a:endParaRPr lang="en-US" spc="100" dirty="0">
              <a:solidFill>
                <a:schemeClr val="tx1"/>
              </a:solidFill>
            </a:endParaRPr>
          </a:p>
        </p:txBody>
      </p:sp>
      <p:sp>
        <p:nvSpPr>
          <p:cNvPr id="13" name="Content Placeholder 12">
            <a:extLst>
              <a:ext uri="{FF2B5EF4-FFF2-40B4-BE49-F238E27FC236}">
                <a16:creationId xmlns:a16="http://schemas.microsoft.com/office/drawing/2014/main" id="{76CD30D4-15E3-221E-C69B-095B1DAAE6FB}"/>
              </a:ext>
            </a:extLst>
          </p:cNvPr>
          <p:cNvSpPr>
            <a:spLocks noGrp="1"/>
          </p:cNvSpPr>
          <p:nvPr>
            <p:ph idx="10"/>
          </p:nvPr>
        </p:nvSpPr>
        <p:spPr>
          <a:xfrm>
            <a:off x="1548840" y="2614481"/>
            <a:ext cx="9875526" cy="903288"/>
          </a:xfrm>
        </p:spPr>
        <p:txBody>
          <a:bodyPr>
            <a:normAutofit/>
          </a:bodyPr>
          <a:lstStyle/>
          <a:p>
            <a:r>
              <a:rPr lang="en-US" b="1" spc="100" dirty="0">
                <a:solidFill>
                  <a:srgbClr val="F26851"/>
                </a:solidFill>
              </a:rPr>
              <a:t>Reliability</a:t>
            </a:r>
            <a:r>
              <a:rPr lang="en-US" spc="100" dirty="0">
                <a:solidFill>
                  <a:schemeClr val="tx1"/>
                </a:solidFill>
              </a:rPr>
              <a:t> means consistency.  Different administrations of the same exam will have the same results for the same student. Different administrations of the test will also yield the same results across years and across student groups.</a:t>
            </a:r>
          </a:p>
        </p:txBody>
      </p:sp>
      <p:sp>
        <p:nvSpPr>
          <p:cNvPr id="14" name="Content Placeholder 13">
            <a:extLst>
              <a:ext uri="{FF2B5EF4-FFF2-40B4-BE49-F238E27FC236}">
                <a16:creationId xmlns:a16="http://schemas.microsoft.com/office/drawing/2014/main" id="{6C3B2A91-828B-91F0-6770-7B02500F5DD3}"/>
              </a:ext>
            </a:extLst>
          </p:cNvPr>
          <p:cNvSpPr>
            <a:spLocks noGrp="1"/>
          </p:cNvSpPr>
          <p:nvPr>
            <p:ph idx="11"/>
          </p:nvPr>
        </p:nvSpPr>
        <p:spPr>
          <a:xfrm>
            <a:off x="1548840" y="3852262"/>
            <a:ext cx="9875526" cy="601111"/>
          </a:xfrm>
        </p:spPr>
        <p:txBody>
          <a:bodyPr/>
          <a:lstStyle/>
          <a:p>
            <a:r>
              <a:rPr lang="en-US" b="1" spc="100" dirty="0">
                <a:solidFill>
                  <a:srgbClr val="F26851"/>
                </a:solidFill>
              </a:rPr>
              <a:t>Fairness</a:t>
            </a:r>
            <a:r>
              <a:rPr lang="en-US" spc="100" dirty="0">
                <a:solidFill>
                  <a:schemeClr val="tx1"/>
                </a:solidFill>
              </a:rPr>
              <a:t> means the tested concepts are teachable and learnable in school, instead of incorporating experiences from outside of school.</a:t>
            </a:r>
          </a:p>
        </p:txBody>
      </p:sp>
      <p:sp>
        <p:nvSpPr>
          <p:cNvPr id="15" name="Content Placeholder 14">
            <a:extLst>
              <a:ext uri="{FF2B5EF4-FFF2-40B4-BE49-F238E27FC236}">
                <a16:creationId xmlns:a16="http://schemas.microsoft.com/office/drawing/2014/main" id="{CA1BA96D-DD26-30E5-FC20-947D08ABF83C}"/>
              </a:ext>
            </a:extLst>
          </p:cNvPr>
          <p:cNvSpPr>
            <a:spLocks noGrp="1"/>
          </p:cNvSpPr>
          <p:nvPr>
            <p:ph idx="12"/>
          </p:nvPr>
        </p:nvSpPr>
        <p:spPr>
          <a:xfrm>
            <a:off x="1548840" y="4888073"/>
            <a:ext cx="9875526" cy="903288"/>
          </a:xfrm>
        </p:spPr>
        <p:txBody>
          <a:bodyPr>
            <a:normAutofit/>
          </a:bodyPr>
          <a:lstStyle/>
          <a:p>
            <a:r>
              <a:rPr lang="en-US" spc="100" dirty="0">
                <a:solidFill>
                  <a:schemeClr val="tx1"/>
                </a:solidFill>
              </a:rPr>
              <a:t>Because the exam is valid, reliable, and fair, it is also </a:t>
            </a:r>
            <a:r>
              <a:rPr lang="en-US" b="1" spc="100" dirty="0">
                <a:solidFill>
                  <a:srgbClr val="F26851"/>
                </a:solidFill>
              </a:rPr>
              <a:t>Comparable</a:t>
            </a:r>
            <a:r>
              <a:rPr lang="en-US" spc="100" dirty="0">
                <a:solidFill>
                  <a:schemeClr val="tx1"/>
                </a:solidFill>
              </a:rPr>
              <a:t>. This means that results can be compared across districts, resulting in the state having grounds to take legitimate action to support students or intervene in school districts. </a:t>
            </a:r>
          </a:p>
        </p:txBody>
      </p:sp>
      <p:sp>
        <p:nvSpPr>
          <p:cNvPr id="11" name="Title 10">
            <a:extLst>
              <a:ext uri="{FF2B5EF4-FFF2-40B4-BE49-F238E27FC236}">
                <a16:creationId xmlns:a16="http://schemas.microsoft.com/office/drawing/2014/main" id="{A898C2F5-49C3-7E95-9DEF-A7A5D52F52F5}"/>
              </a:ext>
            </a:extLst>
          </p:cNvPr>
          <p:cNvSpPr>
            <a:spLocks noGrp="1"/>
          </p:cNvSpPr>
          <p:nvPr>
            <p:ph type="title"/>
          </p:nvPr>
        </p:nvSpPr>
        <p:spPr/>
        <p:txBody>
          <a:bodyPr/>
          <a:lstStyle/>
          <a:p>
            <a:r>
              <a:rPr lang="en-US" dirty="0"/>
              <a:t>The STAAR is Valid, Reliable, Fair, and Comparable</a:t>
            </a:r>
          </a:p>
        </p:txBody>
      </p:sp>
      <p:pic>
        <p:nvPicPr>
          <p:cNvPr id="18" name="Graphic 17">
            <a:extLst>
              <a:ext uri="{FF2B5EF4-FFF2-40B4-BE49-F238E27FC236}">
                <a16:creationId xmlns:a16="http://schemas.microsoft.com/office/drawing/2014/main" id="{0CEFC2AA-AECC-4504-C1CA-DB969823A9D5}"/>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6141" y="2815246"/>
            <a:ext cx="533398" cy="533398"/>
          </a:xfrm>
          <a:prstGeom prst="rect">
            <a:avLst/>
          </a:prstGeom>
        </p:spPr>
      </p:pic>
      <p:pic>
        <p:nvPicPr>
          <p:cNvPr id="19" name="Graphic 18">
            <a:extLst>
              <a:ext uri="{FF2B5EF4-FFF2-40B4-BE49-F238E27FC236}">
                <a16:creationId xmlns:a16="http://schemas.microsoft.com/office/drawing/2014/main" id="{70EAC5E3-16D5-E7F7-9368-DCC3AAE06D6A}"/>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6748" y="3905773"/>
            <a:ext cx="494090" cy="494090"/>
          </a:xfrm>
          <a:prstGeom prst="rect">
            <a:avLst/>
          </a:prstGeom>
        </p:spPr>
      </p:pic>
      <p:pic>
        <p:nvPicPr>
          <p:cNvPr id="21" name="Graphic 20">
            <a:extLst>
              <a:ext uri="{FF2B5EF4-FFF2-40B4-BE49-F238E27FC236}">
                <a16:creationId xmlns:a16="http://schemas.microsoft.com/office/drawing/2014/main" id="{A64D06D7-ED4A-B01A-AE71-6829ACDA9A92}"/>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86141" y="5009857"/>
            <a:ext cx="541308" cy="541308"/>
          </a:xfrm>
          <a:prstGeom prst="rect">
            <a:avLst/>
          </a:prstGeom>
        </p:spPr>
      </p:pic>
      <p:grpSp>
        <p:nvGrpSpPr>
          <p:cNvPr id="22" name="Group 21">
            <a:extLst>
              <a:ext uri="{FF2B5EF4-FFF2-40B4-BE49-F238E27FC236}">
                <a16:creationId xmlns:a16="http://schemas.microsoft.com/office/drawing/2014/main" id="{28300CB2-8B14-E8BA-CC0C-EB10123C42E8}"/>
              </a:ext>
            </a:extLst>
          </p:cNvPr>
          <p:cNvGrpSpPr/>
          <p:nvPr/>
        </p:nvGrpSpPr>
        <p:grpSpPr>
          <a:xfrm>
            <a:off x="760185" y="1607797"/>
            <a:ext cx="766763" cy="740530"/>
            <a:chOff x="571500" y="571846"/>
            <a:chExt cx="919163" cy="919163"/>
          </a:xfrm>
        </p:grpSpPr>
        <p:sp>
          <p:nvSpPr>
            <p:cNvPr id="23" name="Oval 22">
              <a:extLst>
                <a:ext uri="{FF2B5EF4-FFF2-40B4-BE49-F238E27FC236}">
                  <a16:creationId xmlns:a16="http://schemas.microsoft.com/office/drawing/2014/main" id="{BB8F5B12-F0D8-9FC5-45C4-C707376610FE}"/>
                </a:ext>
              </a:extLst>
            </p:cNvPr>
            <p:cNvSpPr/>
            <p:nvPr/>
          </p:nvSpPr>
          <p:spPr>
            <a:xfrm>
              <a:off x="571500" y="571846"/>
              <a:ext cx="919163" cy="9191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Segoe UI" panose="020B0502040204020203" pitchFamily="34" charset="0"/>
              </a:endParaRPr>
            </a:p>
          </p:txBody>
        </p:sp>
        <p:grpSp>
          <p:nvGrpSpPr>
            <p:cNvPr id="24" name="Group 23">
              <a:extLst>
                <a:ext uri="{FF2B5EF4-FFF2-40B4-BE49-F238E27FC236}">
                  <a16:creationId xmlns:a16="http://schemas.microsoft.com/office/drawing/2014/main" id="{C26FEE60-909D-0441-29E5-F011A2C1072E}"/>
                </a:ext>
              </a:extLst>
            </p:cNvPr>
            <p:cNvGrpSpPr/>
            <p:nvPr/>
          </p:nvGrpSpPr>
          <p:grpSpPr>
            <a:xfrm>
              <a:off x="823083" y="799168"/>
              <a:ext cx="415996" cy="464518"/>
              <a:chOff x="893692" y="821665"/>
              <a:chExt cx="498768" cy="556944"/>
            </a:xfrm>
          </p:grpSpPr>
          <p:sp>
            <p:nvSpPr>
              <p:cNvPr id="25" name="Freeform: Shape 19">
                <a:extLst>
                  <a:ext uri="{FF2B5EF4-FFF2-40B4-BE49-F238E27FC236}">
                    <a16:creationId xmlns:a16="http://schemas.microsoft.com/office/drawing/2014/main" id="{FF85EC74-1F69-B060-A0AA-30727793B739}"/>
                  </a:ext>
                </a:extLst>
              </p:cNvPr>
              <p:cNvSpPr/>
              <p:nvPr/>
            </p:nvSpPr>
            <p:spPr>
              <a:xfrm>
                <a:off x="893692" y="821665"/>
                <a:ext cx="498768" cy="556944"/>
              </a:xfrm>
              <a:custGeom>
                <a:avLst/>
                <a:gdLst>
                  <a:gd name="connsiteX0" fmla="*/ 49331 w 498768"/>
                  <a:gd name="connsiteY0" fmla="*/ 556944 h 556944"/>
                  <a:gd name="connsiteX1" fmla="*/ 449438 w 498768"/>
                  <a:gd name="connsiteY1" fmla="*/ 556944 h 556944"/>
                  <a:gd name="connsiteX2" fmla="*/ 498769 w 498768"/>
                  <a:gd name="connsiteY2" fmla="*/ 507618 h 556944"/>
                  <a:gd name="connsiteX3" fmla="*/ 498769 w 498768"/>
                  <a:gd name="connsiteY3" fmla="*/ 488677 h 556944"/>
                  <a:gd name="connsiteX4" fmla="*/ 489533 w 498768"/>
                  <a:gd name="connsiteY4" fmla="*/ 479431 h 556944"/>
                  <a:gd name="connsiteX5" fmla="*/ 489523 w 498768"/>
                  <a:gd name="connsiteY5" fmla="*/ 479431 h 556944"/>
                  <a:gd name="connsiteX6" fmla="*/ 418604 w 498768"/>
                  <a:gd name="connsiteY6" fmla="*/ 479431 h 556944"/>
                  <a:gd name="connsiteX7" fmla="*/ 418604 w 498768"/>
                  <a:gd name="connsiteY7" fmla="*/ 9246 h 556944"/>
                  <a:gd name="connsiteX8" fmla="*/ 409368 w 498768"/>
                  <a:gd name="connsiteY8" fmla="*/ 0 h 556944"/>
                  <a:gd name="connsiteX9" fmla="*/ 409358 w 498768"/>
                  <a:gd name="connsiteY9" fmla="*/ 0 h 556944"/>
                  <a:gd name="connsiteX10" fmla="*/ 9246 w 498768"/>
                  <a:gd name="connsiteY10" fmla="*/ 0 h 556944"/>
                  <a:gd name="connsiteX11" fmla="*/ 0 w 498768"/>
                  <a:gd name="connsiteY11" fmla="*/ 9235 h 556944"/>
                  <a:gd name="connsiteX12" fmla="*/ 0 w 498768"/>
                  <a:gd name="connsiteY12" fmla="*/ 9246 h 556944"/>
                  <a:gd name="connsiteX13" fmla="*/ 0 w 498768"/>
                  <a:gd name="connsiteY13" fmla="*/ 507618 h 556944"/>
                  <a:gd name="connsiteX14" fmla="*/ 49326 w 498768"/>
                  <a:gd name="connsiteY14" fmla="*/ 556944 h 556944"/>
                  <a:gd name="connsiteX15" fmla="*/ 480277 w 498768"/>
                  <a:gd name="connsiteY15" fmla="*/ 507618 h 556944"/>
                  <a:gd name="connsiteX16" fmla="*/ 449438 w 498768"/>
                  <a:gd name="connsiteY16" fmla="*/ 538452 h 556944"/>
                  <a:gd name="connsiteX17" fmla="*/ 87805 w 498768"/>
                  <a:gd name="connsiteY17" fmla="*/ 538452 h 556944"/>
                  <a:gd name="connsiteX18" fmla="*/ 98657 w 498768"/>
                  <a:gd name="connsiteY18" fmla="*/ 507618 h 556944"/>
                  <a:gd name="connsiteX19" fmla="*/ 98657 w 498768"/>
                  <a:gd name="connsiteY19" fmla="*/ 497923 h 556944"/>
                  <a:gd name="connsiteX20" fmla="*/ 480277 w 498768"/>
                  <a:gd name="connsiteY20" fmla="*/ 497923 h 556944"/>
                  <a:gd name="connsiteX21" fmla="*/ 18508 w 498768"/>
                  <a:gd name="connsiteY21" fmla="*/ 507618 h 556944"/>
                  <a:gd name="connsiteX22" fmla="*/ 18508 w 498768"/>
                  <a:gd name="connsiteY22" fmla="*/ 18492 h 556944"/>
                  <a:gd name="connsiteX23" fmla="*/ 400128 w 498768"/>
                  <a:gd name="connsiteY23" fmla="*/ 18492 h 556944"/>
                  <a:gd name="connsiteX24" fmla="*/ 400128 w 498768"/>
                  <a:gd name="connsiteY24" fmla="*/ 479431 h 556944"/>
                  <a:gd name="connsiteX25" fmla="*/ 89411 w 498768"/>
                  <a:gd name="connsiteY25" fmla="*/ 479431 h 556944"/>
                  <a:gd name="connsiteX26" fmla="*/ 80165 w 498768"/>
                  <a:gd name="connsiteY26" fmla="*/ 488667 h 556944"/>
                  <a:gd name="connsiteX27" fmla="*/ 80165 w 498768"/>
                  <a:gd name="connsiteY27" fmla="*/ 488677 h 556944"/>
                  <a:gd name="connsiteX28" fmla="*/ 80165 w 498768"/>
                  <a:gd name="connsiteY28" fmla="*/ 507618 h 556944"/>
                  <a:gd name="connsiteX29" fmla="*/ 49336 w 498768"/>
                  <a:gd name="connsiteY29" fmla="*/ 538452 h 556944"/>
                  <a:gd name="connsiteX30" fmla="*/ 18492 w 498768"/>
                  <a:gd name="connsiteY30" fmla="*/ 507618 h 55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8768" h="556944">
                    <a:moveTo>
                      <a:pt x="49331" y="556944"/>
                    </a:moveTo>
                    <a:lnTo>
                      <a:pt x="449438" y="556944"/>
                    </a:lnTo>
                    <a:cubicBezTo>
                      <a:pt x="476668" y="556912"/>
                      <a:pt x="498737" y="534849"/>
                      <a:pt x="498769" y="507618"/>
                    </a:cubicBezTo>
                    <a:lnTo>
                      <a:pt x="498769" y="488677"/>
                    </a:lnTo>
                    <a:cubicBezTo>
                      <a:pt x="498774" y="483574"/>
                      <a:pt x="494637" y="479437"/>
                      <a:pt x="489533" y="479431"/>
                    </a:cubicBezTo>
                    <a:cubicBezTo>
                      <a:pt x="489528" y="479431"/>
                      <a:pt x="489528" y="479431"/>
                      <a:pt x="489523" y="479431"/>
                    </a:cubicBezTo>
                    <a:lnTo>
                      <a:pt x="418604" y="479431"/>
                    </a:lnTo>
                    <a:lnTo>
                      <a:pt x="418604" y="9246"/>
                    </a:lnTo>
                    <a:cubicBezTo>
                      <a:pt x="418607" y="4143"/>
                      <a:pt x="414472" y="3"/>
                      <a:pt x="409368" y="0"/>
                    </a:cubicBezTo>
                    <a:cubicBezTo>
                      <a:pt x="409365" y="0"/>
                      <a:pt x="409361" y="0"/>
                      <a:pt x="409358" y="0"/>
                    </a:cubicBezTo>
                    <a:lnTo>
                      <a:pt x="9246" y="0"/>
                    </a:lnTo>
                    <a:cubicBezTo>
                      <a:pt x="4143" y="-3"/>
                      <a:pt x="3" y="4132"/>
                      <a:pt x="0" y="9235"/>
                    </a:cubicBezTo>
                    <a:cubicBezTo>
                      <a:pt x="0" y="9239"/>
                      <a:pt x="0" y="9242"/>
                      <a:pt x="0" y="9246"/>
                    </a:cubicBezTo>
                    <a:lnTo>
                      <a:pt x="0" y="507618"/>
                    </a:lnTo>
                    <a:cubicBezTo>
                      <a:pt x="29" y="534849"/>
                      <a:pt x="22096" y="556912"/>
                      <a:pt x="49326" y="556944"/>
                    </a:cubicBezTo>
                    <a:close/>
                    <a:moveTo>
                      <a:pt x="480277" y="507618"/>
                    </a:moveTo>
                    <a:cubicBezTo>
                      <a:pt x="480256" y="524642"/>
                      <a:pt x="466461" y="538436"/>
                      <a:pt x="449438" y="538452"/>
                    </a:cubicBezTo>
                    <a:lnTo>
                      <a:pt x="87805" y="538452"/>
                    </a:lnTo>
                    <a:cubicBezTo>
                      <a:pt x="94835" y="529714"/>
                      <a:pt x="98664" y="518835"/>
                      <a:pt x="98657" y="507618"/>
                    </a:cubicBezTo>
                    <a:lnTo>
                      <a:pt x="98657" y="497923"/>
                    </a:lnTo>
                    <a:lnTo>
                      <a:pt x="480277" y="497923"/>
                    </a:lnTo>
                    <a:close/>
                    <a:moveTo>
                      <a:pt x="18508" y="507618"/>
                    </a:moveTo>
                    <a:lnTo>
                      <a:pt x="18508" y="18492"/>
                    </a:lnTo>
                    <a:lnTo>
                      <a:pt x="400128" y="18492"/>
                    </a:lnTo>
                    <a:lnTo>
                      <a:pt x="400128" y="479431"/>
                    </a:lnTo>
                    <a:lnTo>
                      <a:pt x="89411" y="479431"/>
                    </a:lnTo>
                    <a:cubicBezTo>
                      <a:pt x="84308" y="479426"/>
                      <a:pt x="80168" y="483563"/>
                      <a:pt x="80165" y="488667"/>
                    </a:cubicBezTo>
                    <a:cubicBezTo>
                      <a:pt x="80165" y="488672"/>
                      <a:pt x="80165" y="488672"/>
                      <a:pt x="80165" y="488677"/>
                    </a:cubicBezTo>
                    <a:lnTo>
                      <a:pt x="80165" y="507618"/>
                    </a:lnTo>
                    <a:cubicBezTo>
                      <a:pt x="80148" y="524636"/>
                      <a:pt x="66356" y="538431"/>
                      <a:pt x="49336" y="538452"/>
                    </a:cubicBezTo>
                    <a:cubicBezTo>
                      <a:pt x="32312" y="538436"/>
                      <a:pt x="18513" y="524642"/>
                      <a:pt x="18492" y="507618"/>
                    </a:cubicBez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26" name="Freeform: Shape 20">
                <a:extLst>
                  <a:ext uri="{FF2B5EF4-FFF2-40B4-BE49-F238E27FC236}">
                    <a16:creationId xmlns:a16="http://schemas.microsoft.com/office/drawing/2014/main" id="{7020A862-2484-9244-2BC7-0E2F0EE79CDB}"/>
                  </a:ext>
                </a:extLst>
              </p:cNvPr>
              <p:cNvSpPr/>
              <p:nvPr/>
            </p:nvSpPr>
            <p:spPr>
              <a:xfrm>
                <a:off x="1037184" y="1028991"/>
                <a:ext cx="217147" cy="18491"/>
              </a:xfrm>
              <a:custGeom>
                <a:avLst/>
                <a:gdLst>
                  <a:gd name="connsiteX0" fmla="*/ 207902 w 217147"/>
                  <a:gd name="connsiteY0" fmla="*/ 0 h 18491"/>
                  <a:gd name="connsiteX1" fmla="*/ 9246 w 217147"/>
                  <a:gd name="connsiteY1" fmla="*/ 0 h 18491"/>
                  <a:gd name="connsiteX2" fmla="*/ 0 w 217147"/>
                  <a:gd name="connsiteY2" fmla="*/ 9246 h 18491"/>
                  <a:gd name="connsiteX3" fmla="*/ 9246 w 217147"/>
                  <a:gd name="connsiteY3" fmla="*/ 18492 h 18491"/>
                  <a:gd name="connsiteX4" fmla="*/ 207902 w 217147"/>
                  <a:gd name="connsiteY4" fmla="*/ 18492 h 18491"/>
                  <a:gd name="connsiteX5" fmla="*/ 217148 w 217147"/>
                  <a:gd name="connsiteY5" fmla="*/ 9246 h 18491"/>
                  <a:gd name="connsiteX6" fmla="*/ 207902 w 217147"/>
                  <a:gd name="connsiteY6" fmla="*/ 0 h 1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47" h="18491">
                    <a:moveTo>
                      <a:pt x="207902" y="0"/>
                    </a:moveTo>
                    <a:lnTo>
                      <a:pt x="9246" y="0"/>
                    </a:lnTo>
                    <a:cubicBezTo>
                      <a:pt x="4140" y="0"/>
                      <a:pt x="0" y="4140"/>
                      <a:pt x="0" y="9246"/>
                    </a:cubicBezTo>
                    <a:cubicBezTo>
                      <a:pt x="0" y="14352"/>
                      <a:pt x="4140" y="18492"/>
                      <a:pt x="9246" y="18492"/>
                    </a:cubicBezTo>
                    <a:lnTo>
                      <a:pt x="207902" y="18492"/>
                    </a:lnTo>
                    <a:cubicBezTo>
                      <a:pt x="213008" y="18492"/>
                      <a:pt x="217148" y="14352"/>
                      <a:pt x="217148" y="9246"/>
                    </a:cubicBezTo>
                    <a:cubicBezTo>
                      <a:pt x="217148" y="4140"/>
                      <a:pt x="213008" y="0"/>
                      <a:pt x="207902" y="0"/>
                    </a:cubicBez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27" name="Freeform: Shape 21">
                <a:extLst>
                  <a:ext uri="{FF2B5EF4-FFF2-40B4-BE49-F238E27FC236}">
                    <a16:creationId xmlns:a16="http://schemas.microsoft.com/office/drawing/2014/main" id="{66B9BB39-6CEE-0221-D83A-D54AF006489A}"/>
                  </a:ext>
                </a:extLst>
              </p:cNvPr>
              <p:cNvSpPr/>
              <p:nvPr/>
            </p:nvSpPr>
            <p:spPr>
              <a:xfrm>
                <a:off x="1037184" y="1120679"/>
                <a:ext cx="217147" cy="18491"/>
              </a:xfrm>
              <a:custGeom>
                <a:avLst/>
                <a:gdLst>
                  <a:gd name="connsiteX0" fmla="*/ 207902 w 217147"/>
                  <a:gd name="connsiteY0" fmla="*/ 0 h 18491"/>
                  <a:gd name="connsiteX1" fmla="*/ 9246 w 217147"/>
                  <a:gd name="connsiteY1" fmla="*/ 0 h 18491"/>
                  <a:gd name="connsiteX2" fmla="*/ 0 w 217147"/>
                  <a:gd name="connsiteY2" fmla="*/ 9246 h 18491"/>
                  <a:gd name="connsiteX3" fmla="*/ 9246 w 217147"/>
                  <a:gd name="connsiteY3" fmla="*/ 18492 h 18491"/>
                  <a:gd name="connsiteX4" fmla="*/ 207902 w 217147"/>
                  <a:gd name="connsiteY4" fmla="*/ 18492 h 18491"/>
                  <a:gd name="connsiteX5" fmla="*/ 217148 w 217147"/>
                  <a:gd name="connsiteY5" fmla="*/ 9246 h 18491"/>
                  <a:gd name="connsiteX6" fmla="*/ 207902 w 217147"/>
                  <a:gd name="connsiteY6" fmla="*/ 0 h 1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47" h="18491">
                    <a:moveTo>
                      <a:pt x="207902" y="0"/>
                    </a:moveTo>
                    <a:lnTo>
                      <a:pt x="9246" y="0"/>
                    </a:lnTo>
                    <a:cubicBezTo>
                      <a:pt x="4140" y="0"/>
                      <a:pt x="0" y="4140"/>
                      <a:pt x="0" y="9246"/>
                    </a:cubicBezTo>
                    <a:cubicBezTo>
                      <a:pt x="0" y="14352"/>
                      <a:pt x="4140" y="18492"/>
                      <a:pt x="9246" y="18492"/>
                    </a:cubicBezTo>
                    <a:lnTo>
                      <a:pt x="207902" y="18492"/>
                    </a:lnTo>
                    <a:cubicBezTo>
                      <a:pt x="213008" y="18492"/>
                      <a:pt x="217148" y="14352"/>
                      <a:pt x="217148" y="9246"/>
                    </a:cubicBezTo>
                    <a:cubicBezTo>
                      <a:pt x="217148" y="4140"/>
                      <a:pt x="213008" y="0"/>
                      <a:pt x="207902" y="0"/>
                    </a:cubicBez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28" name="Freeform: Shape 22">
                <a:extLst>
                  <a:ext uri="{FF2B5EF4-FFF2-40B4-BE49-F238E27FC236}">
                    <a16:creationId xmlns:a16="http://schemas.microsoft.com/office/drawing/2014/main" id="{2D4C64F1-BFA6-E478-247E-74BCE71A2D63}"/>
                  </a:ext>
                </a:extLst>
              </p:cNvPr>
              <p:cNvSpPr/>
              <p:nvPr/>
            </p:nvSpPr>
            <p:spPr>
              <a:xfrm>
                <a:off x="951651" y="1098784"/>
                <a:ext cx="62275" cy="62275"/>
              </a:xfrm>
              <a:custGeom>
                <a:avLst/>
                <a:gdLst>
                  <a:gd name="connsiteX0" fmla="*/ 53029 w 62275"/>
                  <a:gd name="connsiteY0" fmla="*/ 0 h 62275"/>
                  <a:gd name="connsiteX1" fmla="*/ 9246 w 62275"/>
                  <a:gd name="connsiteY1" fmla="*/ 0 h 62275"/>
                  <a:gd name="connsiteX2" fmla="*/ 0 w 62275"/>
                  <a:gd name="connsiteY2" fmla="*/ 9246 h 62275"/>
                  <a:gd name="connsiteX3" fmla="*/ 0 w 62275"/>
                  <a:gd name="connsiteY3" fmla="*/ 53029 h 62275"/>
                  <a:gd name="connsiteX4" fmla="*/ 9246 w 62275"/>
                  <a:gd name="connsiteY4" fmla="*/ 62275 h 62275"/>
                  <a:gd name="connsiteX5" fmla="*/ 53029 w 62275"/>
                  <a:gd name="connsiteY5" fmla="*/ 62275 h 62275"/>
                  <a:gd name="connsiteX6" fmla="*/ 62275 w 62275"/>
                  <a:gd name="connsiteY6" fmla="*/ 53040 h 62275"/>
                  <a:gd name="connsiteX7" fmla="*/ 62275 w 62275"/>
                  <a:gd name="connsiteY7" fmla="*/ 53029 h 62275"/>
                  <a:gd name="connsiteX8" fmla="*/ 62275 w 62275"/>
                  <a:gd name="connsiteY8" fmla="*/ 9246 h 62275"/>
                  <a:gd name="connsiteX9" fmla="*/ 53040 w 62275"/>
                  <a:gd name="connsiteY9" fmla="*/ 0 h 62275"/>
                  <a:gd name="connsiteX10" fmla="*/ 53029 w 62275"/>
                  <a:gd name="connsiteY10" fmla="*/ 0 h 62275"/>
                  <a:gd name="connsiteX11" fmla="*/ 43784 w 62275"/>
                  <a:gd name="connsiteY11" fmla="*/ 43784 h 62275"/>
                  <a:gd name="connsiteX12" fmla="*/ 18492 w 62275"/>
                  <a:gd name="connsiteY12" fmla="*/ 43784 h 62275"/>
                  <a:gd name="connsiteX13" fmla="*/ 18492 w 62275"/>
                  <a:gd name="connsiteY13" fmla="*/ 18492 h 62275"/>
                  <a:gd name="connsiteX14" fmla="*/ 43784 w 62275"/>
                  <a:gd name="connsiteY14" fmla="*/ 18492 h 6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75" h="62275">
                    <a:moveTo>
                      <a:pt x="53029" y="0"/>
                    </a:moveTo>
                    <a:lnTo>
                      <a:pt x="9246" y="0"/>
                    </a:lnTo>
                    <a:cubicBezTo>
                      <a:pt x="4140" y="0"/>
                      <a:pt x="0" y="4140"/>
                      <a:pt x="0" y="9246"/>
                    </a:cubicBezTo>
                    <a:lnTo>
                      <a:pt x="0" y="53029"/>
                    </a:lnTo>
                    <a:cubicBezTo>
                      <a:pt x="0" y="58136"/>
                      <a:pt x="4140" y="62275"/>
                      <a:pt x="9246" y="62275"/>
                    </a:cubicBezTo>
                    <a:lnTo>
                      <a:pt x="53029" y="62275"/>
                    </a:lnTo>
                    <a:cubicBezTo>
                      <a:pt x="58133" y="62278"/>
                      <a:pt x="62272" y="58143"/>
                      <a:pt x="62275" y="53040"/>
                    </a:cubicBezTo>
                    <a:cubicBezTo>
                      <a:pt x="62275" y="53036"/>
                      <a:pt x="62275" y="53033"/>
                      <a:pt x="62275" y="53029"/>
                    </a:cubicBezTo>
                    <a:lnTo>
                      <a:pt x="62275" y="9246"/>
                    </a:lnTo>
                    <a:cubicBezTo>
                      <a:pt x="62279" y="4143"/>
                      <a:pt x="58143" y="3"/>
                      <a:pt x="53040" y="0"/>
                    </a:cubicBezTo>
                    <a:cubicBezTo>
                      <a:pt x="53036" y="0"/>
                      <a:pt x="53033" y="0"/>
                      <a:pt x="53029" y="0"/>
                    </a:cubicBezTo>
                    <a:close/>
                    <a:moveTo>
                      <a:pt x="43784" y="43784"/>
                    </a:moveTo>
                    <a:lnTo>
                      <a:pt x="18492" y="43784"/>
                    </a:lnTo>
                    <a:lnTo>
                      <a:pt x="18492" y="18492"/>
                    </a:lnTo>
                    <a:lnTo>
                      <a:pt x="43784" y="18492"/>
                    </a:ln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29" name="Freeform: Shape 23">
                <a:extLst>
                  <a:ext uri="{FF2B5EF4-FFF2-40B4-BE49-F238E27FC236}">
                    <a16:creationId xmlns:a16="http://schemas.microsoft.com/office/drawing/2014/main" id="{5F5CCF6A-DFC9-9A05-7EEB-65B0455A0AB4}"/>
                  </a:ext>
                </a:extLst>
              </p:cNvPr>
              <p:cNvSpPr/>
              <p:nvPr/>
            </p:nvSpPr>
            <p:spPr>
              <a:xfrm>
                <a:off x="951651" y="1190483"/>
                <a:ext cx="62275" cy="62275"/>
              </a:xfrm>
              <a:custGeom>
                <a:avLst/>
                <a:gdLst>
                  <a:gd name="connsiteX0" fmla="*/ 53029 w 62275"/>
                  <a:gd name="connsiteY0" fmla="*/ 0 h 62275"/>
                  <a:gd name="connsiteX1" fmla="*/ 9246 w 62275"/>
                  <a:gd name="connsiteY1" fmla="*/ 0 h 62275"/>
                  <a:gd name="connsiteX2" fmla="*/ 0 w 62275"/>
                  <a:gd name="connsiteY2" fmla="*/ 9246 h 62275"/>
                  <a:gd name="connsiteX3" fmla="*/ 0 w 62275"/>
                  <a:gd name="connsiteY3" fmla="*/ 53029 h 62275"/>
                  <a:gd name="connsiteX4" fmla="*/ 9246 w 62275"/>
                  <a:gd name="connsiteY4" fmla="*/ 62275 h 62275"/>
                  <a:gd name="connsiteX5" fmla="*/ 53029 w 62275"/>
                  <a:gd name="connsiteY5" fmla="*/ 62275 h 62275"/>
                  <a:gd name="connsiteX6" fmla="*/ 62275 w 62275"/>
                  <a:gd name="connsiteY6" fmla="*/ 53040 h 62275"/>
                  <a:gd name="connsiteX7" fmla="*/ 62275 w 62275"/>
                  <a:gd name="connsiteY7" fmla="*/ 53029 h 62275"/>
                  <a:gd name="connsiteX8" fmla="*/ 62275 w 62275"/>
                  <a:gd name="connsiteY8" fmla="*/ 9241 h 62275"/>
                  <a:gd name="connsiteX9" fmla="*/ 53035 w 62275"/>
                  <a:gd name="connsiteY9" fmla="*/ 0 h 62275"/>
                  <a:gd name="connsiteX10" fmla="*/ 53029 w 62275"/>
                  <a:gd name="connsiteY10" fmla="*/ 0 h 62275"/>
                  <a:gd name="connsiteX11" fmla="*/ 43784 w 62275"/>
                  <a:gd name="connsiteY11" fmla="*/ 43784 h 62275"/>
                  <a:gd name="connsiteX12" fmla="*/ 18492 w 62275"/>
                  <a:gd name="connsiteY12" fmla="*/ 43784 h 62275"/>
                  <a:gd name="connsiteX13" fmla="*/ 18492 w 62275"/>
                  <a:gd name="connsiteY13" fmla="*/ 18492 h 62275"/>
                  <a:gd name="connsiteX14" fmla="*/ 43784 w 62275"/>
                  <a:gd name="connsiteY14" fmla="*/ 18492 h 6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75" h="62275">
                    <a:moveTo>
                      <a:pt x="53029" y="0"/>
                    </a:moveTo>
                    <a:lnTo>
                      <a:pt x="9246" y="0"/>
                    </a:lnTo>
                    <a:cubicBezTo>
                      <a:pt x="4140" y="0"/>
                      <a:pt x="0" y="4140"/>
                      <a:pt x="0" y="9246"/>
                    </a:cubicBezTo>
                    <a:lnTo>
                      <a:pt x="0" y="53029"/>
                    </a:lnTo>
                    <a:cubicBezTo>
                      <a:pt x="0" y="58136"/>
                      <a:pt x="4140" y="62275"/>
                      <a:pt x="9246" y="62275"/>
                    </a:cubicBezTo>
                    <a:lnTo>
                      <a:pt x="53029" y="62275"/>
                    </a:lnTo>
                    <a:cubicBezTo>
                      <a:pt x="58133" y="62279"/>
                      <a:pt x="62272" y="58143"/>
                      <a:pt x="62275" y="53040"/>
                    </a:cubicBezTo>
                    <a:cubicBezTo>
                      <a:pt x="62275" y="53036"/>
                      <a:pt x="62275" y="53033"/>
                      <a:pt x="62275" y="53029"/>
                    </a:cubicBezTo>
                    <a:lnTo>
                      <a:pt x="62275" y="9241"/>
                    </a:lnTo>
                    <a:cubicBezTo>
                      <a:pt x="62275" y="4137"/>
                      <a:pt x="58138" y="0"/>
                      <a:pt x="53035" y="0"/>
                    </a:cubicBezTo>
                    <a:cubicBezTo>
                      <a:pt x="53033" y="0"/>
                      <a:pt x="53031" y="0"/>
                      <a:pt x="53029" y="0"/>
                    </a:cubicBezTo>
                    <a:close/>
                    <a:moveTo>
                      <a:pt x="43784" y="43784"/>
                    </a:moveTo>
                    <a:lnTo>
                      <a:pt x="18492" y="43784"/>
                    </a:lnTo>
                    <a:lnTo>
                      <a:pt x="18492" y="18492"/>
                    </a:lnTo>
                    <a:lnTo>
                      <a:pt x="43784" y="18492"/>
                    </a:ln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30" name="Freeform: Shape 24">
                <a:extLst>
                  <a:ext uri="{FF2B5EF4-FFF2-40B4-BE49-F238E27FC236}">
                    <a16:creationId xmlns:a16="http://schemas.microsoft.com/office/drawing/2014/main" id="{8540B469-CA44-027F-8719-70A35E855340}"/>
                  </a:ext>
                </a:extLst>
              </p:cNvPr>
              <p:cNvSpPr/>
              <p:nvPr/>
            </p:nvSpPr>
            <p:spPr>
              <a:xfrm>
                <a:off x="1037184" y="1212367"/>
                <a:ext cx="217147" cy="18491"/>
              </a:xfrm>
              <a:custGeom>
                <a:avLst/>
                <a:gdLst>
                  <a:gd name="connsiteX0" fmla="*/ 207902 w 217147"/>
                  <a:gd name="connsiteY0" fmla="*/ 0 h 18491"/>
                  <a:gd name="connsiteX1" fmla="*/ 9246 w 217147"/>
                  <a:gd name="connsiteY1" fmla="*/ 0 h 18491"/>
                  <a:gd name="connsiteX2" fmla="*/ 0 w 217147"/>
                  <a:gd name="connsiteY2" fmla="*/ 9246 h 18491"/>
                  <a:gd name="connsiteX3" fmla="*/ 9246 w 217147"/>
                  <a:gd name="connsiteY3" fmla="*/ 18492 h 18491"/>
                  <a:gd name="connsiteX4" fmla="*/ 207902 w 217147"/>
                  <a:gd name="connsiteY4" fmla="*/ 18492 h 18491"/>
                  <a:gd name="connsiteX5" fmla="*/ 217148 w 217147"/>
                  <a:gd name="connsiteY5" fmla="*/ 9246 h 18491"/>
                  <a:gd name="connsiteX6" fmla="*/ 207902 w 217147"/>
                  <a:gd name="connsiteY6" fmla="*/ 0 h 1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47" h="18491">
                    <a:moveTo>
                      <a:pt x="207902" y="0"/>
                    </a:moveTo>
                    <a:lnTo>
                      <a:pt x="9246" y="0"/>
                    </a:lnTo>
                    <a:cubicBezTo>
                      <a:pt x="4140" y="0"/>
                      <a:pt x="0" y="4140"/>
                      <a:pt x="0" y="9246"/>
                    </a:cubicBezTo>
                    <a:cubicBezTo>
                      <a:pt x="0" y="14352"/>
                      <a:pt x="4140" y="18492"/>
                      <a:pt x="9246" y="18492"/>
                    </a:cubicBezTo>
                    <a:lnTo>
                      <a:pt x="207902" y="18492"/>
                    </a:lnTo>
                    <a:cubicBezTo>
                      <a:pt x="213008" y="18492"/>
                      <a:pt x="217148" y="14352"/>
                      <a:pt x="217148" y="9246"/>
                    </a:cubicBezTo>
                    <a:cubicBezTo>
                      <a:pt x="217148" y="4140"/>
                      <a:pt x="213008" y="0"/>
                      <a:pt x="207902" y="0"/>
                    </a:cubicBez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31" name="Freeform: Shape 25">
                <a:extLst>
                  <a:ext uri="{FF2B5EF4-FFF2-40B4-BE49-F238E27FC236}">
                    <a16:creationId xmlns:a16="http://schemas.microsoft.com/office/drawing/2014/main" id="{5859C281-BB72-83C9-9551-A3A1CE624FD2}"/>
                  </a:ext>
                </a:extLst>
              </p:cNvPr>
              <p:cNvSpPr/>
              <p:nvPr/>
            </p:nvSpPr>
            <p:spPr>
              <a:xfrm>
                <a:off x="954401" y="1011754"/>
                <a:ext cx="72580" cy="52846"/>
              </a:xfrm>
              <a:custGeom>
                <a:avLst/>
                <a:gdLst>
                  <a:gd name="connsiteX0" fmla="*/ 15778 w 72580"/>
                  <a:gd name="connsiteY0" fmla="*/ 17343 h 52846"/>
                  <a:gd name="connsiteX1" fmla="*/ 2707 w 72580"/>
                  <a:gd name="connsiteY1" fmla="*/ 17343 h 52846"/>
                  <a:gd name="connsiteX2" fmla="*/ 2707 w 72580"/>
                  <a:gd name="connsiteY2" fmla="*/ 30414 h 52846"/>
                  <a:gd name="connsiteX3" fmla="*/ 22430 w 72580"/>
                  <a:gd name="connsiteY3" fmla="*/ 50142 h 52846"/>
                  <a:gd name="connsiteX4" fmla="*/ 35507 w 72580"/>
                  <a:gd name="connsiteY4" fmla="*/ 50142 h 52846"/>
                  <a:gd name="connsiteX5" fmla="*/ 69759 w 72580"/>
                  <a:gd name="connsiteY5" fmla="*/ 15895 h 52846"/>
                  <a:gd name="connsiteX6" fmla="*/ 69983 w 72580"/>
                  <a:gd name="connsiteY6" fmla="*/ 2821 h 52846"/>
                  <a:gd name="connsiteX7" fmla="*/ 56910 w 72580"/>
                  <a:gd name="connsiteY7" fmla="*/ 2597 h 52846"/>
                  <a:gd name="connsiteX8" fmla="*/ 56682 w 72580"/>
                  <a:gd name="connsiteY8" fmla="*/ 2824 h 52846"/>
                  <a:gd name="connsiteX9" fmla="*/ 28966 w 72580"/>
                  <a:gd name="connsiteY9" fmla="*/ 30530 h 5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580" h="52846">
                    <a:moveTo>
                      <a:pt x="15778" y="17343"/>
                    </a:moveTo>
                    <a:cubicBezTo>
                      <a:pt x="12169" y="13733"/>
                      <a:pt x="6317" y="13733"/>
                      <a:pt x="2707" y="17343"/>
                    </a:cubicBezTo>
                    <a:cubicBezTo>
                      <a:pt x="-902" y="20952"/>
                      <a:pt x="-902" y="26804"/>
                      <a:pt x="2707" y="30414"/>
                    </a:cubicBezTo>
                    <a:lnTo>
                      <a:pt x="22430" y="50142"/>
                    </a:lnTo>
                    <a:cubicBezTo>
                      <a:pt x="26043" y="53748"/>
                      <a:pt x="31893" y="53748"/>
                      <a:pt x="35507" y="50142"/>
                    </a:cubicBezTo>
                    <a:lnTo>
                      <a:pt x="69759" y="15895"/>
                    </a:lnTo>
                    <a:cubicBezTo>
                      <a:pt x="73431" y="12347"/>
                      <a:pt x="73532" y="6493"/>
                      <a:pt x="69983" y="2821"/>
                    </a:cubicBezTo>
                    <a:cubicBezTo>
                      <a:pt x="66435" y="-851"/>
                      <a:pt x="60582" y="-951"/>
                      <a:pt x="56910" y="2597"/>
                    </a:cubicBezTo>
                    <a:cubicBezTo>
                      <a:pt x="56832" y="2671"/>
                      <a:pt x="56757" y="2747"/>
                      <a:pt x="56682" y="2824"/>
                    </a:cubicBezTo>
                    <a:lnTo>
                      <a:pt x="28966" y="30530"/>
                    </a:ln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32" name="Freeform: Shape 26">
                <a:extLst>
                  <a:ext uri="{FF2B5EF4-FFF2-40B4-BE49-F238E27FC236}">
                    <a16:creationId xmlns:a16="http://schemas.microsoft.com/office/drawing/2014/main" id="{462353BF-B973-B06A-C379-A0E4D3A8A317}"/>
                  </a:ext>
                </a:extLst>
              </p:cNvPr>
              <p:cNvSpPr/>
              <p:nvPr/>
            </p:nvSpPr>
            <p:spPr>
              <a:xfrm>
                <a:off x="940524" y="862537"/>
                <a:ext cx="64526" cy="95370"/>
              </a:xfrm>
              <a:custGeom>
                <a:avLst/>
                <a:gdLst>
                  <a:gd name="connsiteX0" fmla="*/ 9246 w 64526"/>
                  <a:gd name="connsiteY0" fmla="*/ 95371 h 95370"/>
                  <a:gd name="connsiteX1" fmla="*/ 55280 w 64526"/>
                  <a:gd name="connsiteY1" fmla="*/ 95371 h 95370"/>
                  <a:gd name="connsiteX2" fmla="*/ 64526 w 64526"/>
                  <a:gd name="connsiteY2" fmla="*/ 86125 h 95370"/>
                  <a:gd name="connsiteX3" fmla="*/ 55280 w 64526"/>
                  <a:gd name="connsiteY3" fmla="*/ 76879 h 95370"/>
                  <a:gd name="connsiteX4" fmla="*/ 18492 w 64526"/>
                  <a:gd name="connsiteY4" fmla="*/ 76879 h 95370"/>
                  <a:gd name="connsiteX5" fmla="*/ 18492 w 64526"/>
                  <a:gd name="connsiteY5" fmla="*/ 56934 h 95370"/>
                  <a:gd name="connsiteX6" fmla="*/ 55280 w 64526"/>
                  <a:gd name="connsiteY6" fmla="*/ 56934 h 95370"/>
                  <a:gd name="connsiteX7" fmla="*/ 64526 w 64526"/>
                  <a:gd name="connsiteY7" fmla="*/ 47688 h 95370"/>
                  <a:gd name="connsiteX8" fmla="*/ 55280 w 64526"/>
                  <a:gd name="connsiteY8" fmla="*/ 38442 h 95370"/>
                  <a:gd name="connsiteX9" fmla="*/ 18492 w 64526"/>
                  <a:gd name="connsiteY9" fmla="*/ 38442 h 95370"/>
                  <a:gd name="connsiteX10" fmla="*/ 18492 w 64526"/>
                  <a:gd name="connsiteY10" fmla="*/ 18492 h 95370"/>
                  <a:gd name="connsiteX11" fmla="*/ 55280 w 64526"/>
                  <a:gd name="connsiteY11" fmla="*/ 18492 h 95370"/>
                  <a:gd name="connsiteX12" fmla="*/ 64526 w 64526"/>
                  <a:gd name="connsiteY12" fmla="*/ 9246 h 95370"/>
                  <a:gd name="connsiteX13" fmla="*/ 55280 w 64526"/>
                  <a:gd name="connsiteY13" fmla="*/ 0 h 95370"/>
                  <a:gd name="connsiteX14" fmla="*/ 9246 w 64526"/>
                  <a:gd name="connsiteY14" fmla="*/ 0 h 95370"/>
                  <a:gd name="connsiteX15" fmla="*/ 0 w 64526"/>
                  <a:gd name="connsiteY15" fmla="*/ 9246 h 95370"/>
                  <a:gd name="connsiteX16" fmla="*/ 0 w 64526"/>
                  <a:gd name="connsiteY16" fmla="*/ 86125 h 95370"/>
                  <a:gd name="connsiteX17" fmla="*/ 9235 w 64526"/>
                  <a:gd name="connsiteY17" fmla="*/ 95371 h 95370"/>
                  <a:gd name="connsiteX18" fmla="*/ 9246 w 64526"/>
                  <a:gd name="connsiteY18" fmla="*/ 95371 h 9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526" h="95370">
                    <a:moveTo>
                      <a:pt x="9246" y="95371"/>
                    </a:moveTo>
                    <a:lnTo>
                      <a:pt x="55280" y="95371"/>
                    </a:lnTo>
                    <a:cubicBezTo>
                      <a:pt x="60387" y="95371"/>
                      <a:pt x="64526" y="91231"/>
                      <a:pt x="64526" y="86125"/>
                    </a:cubicBezTo>
                    <a:cubicBezTo>
                      <a:pt x="64526" y="81018"/>
                      <a:pt x="60387" y="76879"/>
                      <a:pt x="55280" y="76879"/>
                    </a:cubicBezTo>
                    <a:lnTo>
                      <a:pt x="18492" y="76879"/>
                    </a:lnTo>
                    <a:lnTo>
                      <a:pt x="18492" y="56934"/>
                    </a:lnTo>
                    <a:lnTo>
                      <a:pt x="55280" y="56934"/>
                    </a:lnTo>
                    <a:cubicBezTo>
                      <a:pt x="60387" y="56934"/>
                      <a:pt x="64526" y="52794"/>
                      <a:pt x="64526" y="47688"/>
                    </a:cubicBezTo>
                    <a:cubicBezTo>
                      <a:pt x="64526" y="42582"/>
                      <a:pt x="60387" y="38442"/>
                      <a:pt x="55280" y="38442"/>
                    </a:cubicBezTo>
                    <a:lnTo>
                      <a:pt x="18492" y="38442"/>
                    </a:lnTo>
                    <a:lnTo>
                      <a:pt x="18492" y="18492"/>
                    </a:lnTo>
                    <a:lnTo>
                      <a:pt x="55280" y="18492"/>
                    </a:lnTo>
                    <a:cubicBezTo>
                      <a:pt x="60387" y="18492"/>
                      <a:pt x="64526" y="14352"/>
                      <a:pt x="64526" y="9246"/>
                    </a:cubicBezTo>
                    <a:cubicBezTo>
                      <a:pt x="64526" y="4140"/>
                      <a:pt x="60387" y="0"/>
                      <a:pt x="55280" y="0"/>
                    </a:cubicBezTo>
                    <a:lnTo>
                      <a:pt x="9246" y="0"/>
                    </a:lnTo>
                    <a:cubicBezTo>
                      <a:pt x="4140" y="0"/>
                      <a:pt x="0" y="4140"/>
                      <a:pt x="0" y="9246"/>
                    </a:cubicBezTo>
                    <a:lnTo>
                      <a:pt x="0" y="86125"/>
                    </a:lnTo>
                    <a:cubicBezTo>
                      <a:pt x="-3" y="91228"/>
                      <a:pt x="4132" y="95367"/>
                      <a:pt x="9235" y="95371"/>
                    </a:cubicBezTo>
                    <a:cubicBezTo>
                      <a:pt x="9239" y="95371"/>
                      <a:pt x="9242" y="95371"/>
                      <a:pt x="9246" y="95371"/>
                    </a:cubicBez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33" name="Freeform: Shape 27">
                <a:extLst>
                  <a:ext uri="{FF2B5EF4-FFF2-40B4-BE49-F238E27FC236}">
                    <a16:creationId xmlns:a16="http://schemas.microsoft.com/office/drawing/2014/main" id="{7964AA7D-985F-056B-8176-80D779A66029}"/>
                  </a:ext>
                </a:extLst>
              </p:cNvPr>
              <p:cNvSpPr/>
              <p:nvPr/>
            </p:nvSpPr>
            <p:spPr>
              <a:xfrm>
                <a:off x="1181553" y="862539"/>
                <a:ext cx="83905" cy="95369"/>
              </a:xfrm>
              <a:custGeom>
                <a:avLst/>
                <a:gdLst>
                  <a:gd name="connsiteX0" fmla="*/ 9235 w 83905"/>
                  <a:gd name="connsiteY0" fmla="*/ 95369 h 95369"/>
                  <a:gd name="connsiteX1" fmla="*/ 18481 w 83905"/>
                  <a:gd name="connsiteY1" fmla="*/ 86134 h 95369"/>
                  <a:gd name="connsiteX2" fmla="*/ 18481 w 83905"/>
                  <a:gd name="connsiteY2" fmla="*/ 86123 h 95369"/>
                  <a:gd name="connsiteX3" fmla="*/ 18481 w 83905"/>
                  <a:gd name="connsiteY3" fmla="*/ 35366 h 95369"/>
                  <a:gd name="connsiteX4" fmla="*/ 34759 w 83905"/>
                  <a:gd name="connsiteY4" fmla="*/ 55469 h 95369"/>
                  <a:gd name="connsiteX5" fmla="*/ 48239 w 83905"/>
                  <a:gd name="connsiteY5" fmla="*/ 56366 h 95369"/>
                  <a:gd name="connsiteX6" fmla="*/ 49136 w 83905"/>
                  <a:gd name="connsiteY6" fmla="*/ 55469 h 95369"/>
                  <a:gd name="connsiteX7" fmla="*/ 65414 w 83905"/>
                  <a:gd name="connsiteY7" fmla="*/ 35392 h 95369"/>
                  <a:gd name="connsiteX8" fmla="*/ 65414 w 83905"/>
                  <a:gd name="connsiteY8" fmla="*/ 86123 h 95369"/>
                  <a:gd name="connsiteX9" fmla="*/ 74660 w 83905"/>
                  <a:gd name="connsiteY9" fmla="*/ 95369 h 95369"/>
                  <a:gd name="connsiteX10" fmla="*/ 83906 w 83905"/>
                  <a:gd name="connsiteY10" fmla="*/ 86123 h 95369"/>
                  <a:gd name="connsiteX11" fmla="*/ 83906 w 83905"/>
                  <a:gd name="connsiteY11" fmla="*/ 9245 h 95369"/>
                  <a:gd name="connsiteX12" fmla="*/ 74653 w 83905"/>
                  <a:gd name="connsiteY12" fmla="*/ 5 h 95369"/>
                  <a:gd name="connsiteX13" fmla="*/ 67474 w 83905"/>
                  <a:gd name="connsiteY13" fmla="*/ 3433 h 95369"/>
                  <a:gd name="connsiteX14" fmla="*/ 41945 w 83905"/>
                  <a:gd name="connsiteY14" fmla="*/ 34964 h 95369"/>
                  <a:gd name="connsiteX15" fmla="*/ 16431 w 83905"/>
                  <a:gd name="connsiteY15" fmla="*/ 3428 h 95369"/>
                  <a:gd name="connsiteX16" fmla="*/ 3427 w 83905"/>
                  <a:gd name="connsiteY16" fmla="*/ 2061 h 95369"/>
                  <a:gd name="connsiteX17" fmla="*/ 0 w 83905"/>
                  <a:gd name="connsiteY17" fmla="*/ 9239 h 95369"/>
                  <a:gd name="connsiteX18" fmla="*/ 0 w 83905"/>
                  <a:gd name="connsiteY18" fmla="*/ 86123 h 95369"/>
                  <a:gd name="connsiteX19" fmla="*/ 9235 w 83905"/>
                  <a:gd name="connsiteY19" fmla="*/ 95369 h 95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905" h="95369">
                    <a:moveTo>
                      <a:pt x="9235" y="95369"/>
                    </a:moveTo>
                    <a:cubicBezTo>
                      <a:pt x="14339" y="95372"/>
                      <a:pt x="18479" y="91237"/>
                      <a:pt x="18481" y="86134"/>
                    </a:cubicBezTo>
                    <a:cubicBezTo>
                      <a:pt x="18481" y="86130"/>
                      <a:pt x="18481" y="86127"/>
                      <a:pt x="18481" y="86123"/>
                    </a:cubicBezTo>
                    <a:lnTo>
                      <a:pt x="18481" y="35366"/>
                    </a:lnTo>
                    <a:lnTo>
                      <a:pt x="34759" y="55469"/>
                    </a:lnTo>
                    <a:cubicBezTo>
                      <a:pt x="38234" y="59439"/>
                      <a:pt x="44269" y="59840"/>
                      <a:pt x="48239" y="56366"/>
                    </a:cubicBezTo>
                    <a:cubicBezTo>
                      <a:pt x="48557" y="56087"/>
                      <a:pt x="48857" y="55788"/>
                      <a:pt x="49136" y="55469"/>
                    </a:cubicBezTo>
                    <a:lnTo>
                      <a:pt x="65414" y="35392"/>
                    </a:lnTo>
                    <a:lnTo>
                      <a:pt x="65414" y="86123"/>
                    </a:lnTo>
                    <a:cubicBezTo>
                      <a:pt x="65414" y="91230"/>
                      <a:pt x="69553" y="95369"/>
                      <a:pt x="74660" y="95369"/>
                    </a:cubicBezTo>
                    <a:cubicBezTo>
                      <a:pt x="79766" y="95369"/>
                      <a:pt x="83906" y="91230"/>
                      <a:pt x="83906" y="86123"/>
                    </a:cubicBezTo>
                    <a:lnTo>
                      <a:pt x="83906" y="9245"/>
                    </a:lnTo>
                    <a:cubicBezTo>
                      <a:pt x="83902" y="4138"/>
                      <a:pt x="79759" y="2"/>
                      <a:pt x="74653" y="5"/>
                    </a:cubicBezTo>
                    <a:cubicBezTo>
                      <a:pt x="71866" y="8"/>
                      <a:pt x="69228" y="1267"/>
                      <a:pt x="67474" y="3433"/>
                    </a:cubicBezTo>
                    <a:lnTo>
                      <a:pt x="41945" y="34964"/>
                    </a:lnTo>
                    <a:lnTo>
                      <a:pt x="16431" y="3428"/>
                    </a:lnTo>
                    <a:cubicBezTo>
                      <a:pt x="13218" y="-541"/>
                      <a:pt x="7396" y="-1153"/>
                      <a:pt x="3427" y="2061"/>
                    </a:cubicBezTo>
                    <a:cubicBezTo>
                      <a:pt x="1261" y="3815"/>
                      <a:pt x="2" y="6452"/>
                      <a:pt x="0" y="9239"/>
                    </a:cubicBezTo>
                    <a:lnTo>
                      <a:pt x="0" y="86123"/>
                    </a:lnTo>
                    <a:cubicBezTo>
                      <a:pt x="-3" y="91226"/>
                      <a:pt x="4132" y="95366"/>
                      <a:pt x="9235" y="95369"/>
                    </a:cubicBez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34" name="Freeform: Shape 28">
                <a:extLst>
                  <a:ext uri="{FF2B5EF4-FFF2-40B4-BE49-F238E27FC236}">
                    <a16:creationId xmlns:a16="http://schemas.microsoft.com/office/drawing/2014/main" id="{9B890D12-7FC5-D07F-BFAF-A62E05C7CD6C}"/>
                  </a:ext>
                </a:extLst>
              </p:cNvPr>
              <p:cNvSpPr/>
              <p:nvPr/>
            </p:nvSpPr>
            <p:spPr>
              <a:xfrm>
                <a:off x="1017488" y="862539"/>
                <a:ext cx="74664" cy="95385"/>
              </a:xfrm>
              <a:custGeom>
                <a:avLst/>
                <a:gdLst>
                  <a:gd name="connsiteX0" fmla="*/ 3787 w 74664"/>
                  <a:gd name="connsiteY0" fmla="*/ 93588 h 95385"/>
                  <a:gd name="connsiteX1" fmla="*/ 16700 w 74664"/>
                  <a:gd name="connsiteY1" fmla="*/ 91582 h 95385"/>
                  <a:gd name="connsiteX2" fmla="*/ 16705 w 74664"/>
                  <a:gd name="connsiteY2" fmla="*/ 91575 h 95385"/>
                  <a:gd name="connsiteX3" fmla="*/ 37310 w 74664"/>
                  <a:gd name="connsiteY3" fmla="*/ 63357 h 95385"/>
                  <a:gd name="connsiteX4" fmla="*/ 57916 w 74664"/>
                  <a:gd name="connsiteY4" fmla="*/ 91575 h 95385"/>
                  <a:gd name="connsiteX5" fmla="*/ 70847 w 74664"/>
                  <a:gd name="connsiteY5" fmla="*/ 93612 h 95385"/>
                  <a:gd name="connsiteX6" fmla="*/ 72883 w 74664"/>
                  <a:gd name="connsiteY6" fmla="*/ 80681 h 95385"/>
                  <a:gd name="connsiteX7" fmla="*/ 48781 w 74664"/>
                  <a:gd name="connsiteY7" fmla="*/ 47686 h 95385"/>
                  <a:gd name="connsiteX8" fmla="*/ 72883 w 74664"/>
                  <a:gd name="connsiteY8" fmla="*/ 14702 h 95385"/>
                  <a:gd name="connsiteX9" fmla="*/ 70873 w 74664"/>
                  <a:gd name="connsiteY9" fmla="*/ 1781 h 95385"/>
                  <a:gd name="connsiteX10" fmla="*/ 57953 w 74664"/>
                  <a:gd name="connsiteY10" fmla="*/ 3792 h 95385"/>
                  <a:gd name="connsiteX11" fmla="*/ 37347 w 74664"/>
                  <a:gd name="connsiteY11" fmla="*/ 32016 h 95385"/>
                  <a:gd name="connsiteX12" fmla="*/ 16742 w 74664"/>
                  <a:gd name="connsiteY12" fmla="*/ 3792 h 95385"/>
                  <a:gd name="connsiteX13" fmla="*/ 3821 w 74664"/>
                  <a:gd name="connsiteY13" fmla="*/ 1781 h 95385"/>
                  <a:gd name="connsiteX14" fmla="*/ 1811 w 74664"/>
                  <a:gd name="connsiteY14" fmla="*/ 14702 h 95385"/>
                  <a:gd name="connsiteX15" fmla="*/ 25914 w 74664"/>
                  <a:gd name="connsiteY15" fmla="*/ 47686 h 95385"/>
                  <a:gd name="connsiteX16" fmla="*/ 1774 w 74664"/>
                  <a:gd name="connsiteY16" fmla="*/ 80681 h 95385"/>
                  <a:gd name="connsiteX17" fmla="*/ 3787 w 74664"/>
                  <a:gd name="connsiteY17" fmla="*/ 93588 h 9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664" h="95385">
                    <a:moveTo>
                      <a:pt x="3787" y="93588"/>
                    </a:moveTo>
                    <a:cubicBezTo>
                      <a:pt x="7907" y="96600"/>
                      <a:pt x="13689" y="95702"/>
                      <a:pt x="16700" y="91582"/>
                    </a:cubicBezTo>
                    <a:cubicBezTo>
                      <a:pt x="16702" y="91580"/>
                      <a:pt x="16703" y="91577"/>
                      <a:pt x="16705" y="91575"/>
                    </a:cubicBezTo>
                    <a:lnTo>
                      <a:pt x="37310" y="63357"/>
                    </a:lnTo>
                    <a:lnTo>
                      <a:pt x="57916" y="91575"/>
                    </a:lnTo>
                    <a:cubicBezTo>
                      <a:pt x="60924" y="95708"/>
                      <a:pt x="66713" y="96620"/>
                      <a:pt x="70847" y="93612"/>
                    </a:cubicBezTo>
                    <a:cubicBezTo>
                      <a:pt x="74980" y="90604"/>
                      <a:pt x="75892" y="84814"/>
                      <a:pt x="72883" y="80681"/>
                    </a:cubicBezTo>
                    <a:lnTo>
                      <a:pt x="48781" y="47686"/>
                    </a:lnTo>
                    <a:lnTo>
                      <a:pt x="72883" y="14702"/>
                    </a:lnTo>
                    <a:cubicBezTo>
                      <a:pt x="75896" y="10579"/>
                      <a:pt x="74996" y="4794"/>
                      <a:pt x="70873" y="1781"/>
                    </a:cubicBezTo>
                    <a:cubicBezTo>
                      <a:pt x="66750" y="-1231"/>
                      <a:pt x="60965" y="-332"/>
                      <a:pt x="57953" y="3792"/>
                    </a:cubicBezTo>
                    <a:lnTo>
                      <a:pt x="37347" y="32016"/>
                    </a:lnTo>
                    <a:lnTo>
                      <a:pt x="16742" y="3792"/>
                    </a:lnTo>
                    <a:cubicBezTo>
                      <a:pt x="13729" y="-332"/>
                      <a:pt x="7945" y="-1231"/>
                      <a:pt x="3821" y="1781"/>
                    </a:cubicBezTo>
                    <a:cubicBezTo>
                      <a:pt x="-302" y="4794"/>
                      <a:pt x="-1201" y="10579"/>
                      <a:pt x="1811" y="14702"/>
                    </a:cubicBezTo>
                    <a:lnTo>
                      <a:pt x="25914" y="47686"/>
                    </a:lnTo>
                    <a:lnTo>
                      <a:pt x="1774" y="80681"/>
                    </a:lnTo>
                    <a:cubicBezTo>
                      <a:pt x="-1229" y="84803"/>
                      <a:pt x="-329" y="90577"/>
                      <a:pt x="3787" y="93588"/>
                    </a:cubicBez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sp>
            <p:nvSpPr>
              <p:cNvPr id="35" name="Freeform: Shape 29">
                <a:extLst>
                  <a:ext uri="{FF2B5EF4-FFF2-40B4-BE49-F238E27FC236}">
                    <a16:creationId xmlns:a16="http://schemas.microsoft.com/office/drawing/2014/main" id="{304DF6A7-BD28-D73D-8491-E2A917D18D53}"/>
                  </a:ext>
                </a:extLst>
              </p:cNvPr>
              <p:cNvSpPr/>
              <p:nvPr/>
            </p:nvSpPr>
            <p:spPr>
              <a:xfrm>
                <a:off x="1104584" y="862537"/>
                <a:ext cx="64526" cy="95370"/>
              </a:xfrm>
              <a:custGeom>
                <a:avLst/>
                <a:gdLst>
                  <a:gd name="connsiteX0" fmla="*/ 9246 w 64526"/>
                  <a:gd name="connsiteY0" fmla="*/ 95371 h 95370"/>
                  <a:gd name="connsiteX1" fmla="*/ 18492 w 64526"/>
                  <a:gd name="connsiteY1" fmla="*/ 86125 h 95370"/>
                  <a:gd name="connsiteX2" fmla="*/ 18492 w 64526"/>
                  <a:gd name="connsiteY2" fmla="*/ 56934 h 95370"/>
                  <a:gd name="connsiteX3" fmla="*/ 46034 w 64526"/>
                  <a:gd name="connsiteY3" fmla="*/ 56934 h 95370"/>
                  <a:gd name="connsiteX4" fmla="*/ 46034 w 64526"/>
                  <a:gd name="connsiteY4" fmla="*/ 86125 h 95370"/>
                  <a:gd name="connsiteX5" fmla="*/ 55280 w 64526"/>
                  <a:gd name="connsiteY5" fmla="*/ 95371 h 95370"/>
                  <a:gd name="connsiteX6" fmla="*/ 64526 w 64526"/>
                  <a:gd name="connsiteY6" fmla="*/ 86125 h 95370"/>
                  <a:gd name="connsiteX7" fmla="*/ 64526 w 64526"/>
                  <a:gd name="connsiteY7" fmla="*/ 9246 h 95370"/>
                  <a:gd name="connsiteX8" fmla="*/ 55280 w 64526"/>
                  <a:gd name="connsiteY8" fmla="*/ 0 h 95370"/>
                  <a:gd name="connsiteX9" fmla="*/ 9246 w 64526"/>
                  <a:gd name="connsiteY9" fmla="*/ 0 h 95370"/>
                  <a:gd name="connsiteX10" fmla="*/ 0 w 64526"/>
                  <a:gd name="connsiteY10" fmla="*/ 9246 h 95370"/>
                  <a:gd name="connsiteX11" fmla="*/ 0 w 64526"/>
                  <a:gd name="connsiteY11" fmla="*/ 86125 h 95370"/>
                  <a:gd name="connsiteX12" fmla="*/ 9235 w 64526"/>
                  <a:gd name="connsiteY12" fmla="*/ 95371 h 95370"/>
                  <a:gd name="connsiteX13" fmla="*/ 9246 w 64526"/>
                  <a:gd name="connsiteY13" fmla="*/ 95371 h 95370"/>
                  <a:gd name="connsiteX14" fmla="*/ 46034 w 64526"/>
                  <a:gd name="connsiteY14" fmla="*/ 18492 h 95370"/>
                  <a:gd name="connsiteX15" fmla="*/ 46034 w 64526"/>
                  <a:gd name="connsiteY15" fmla="*/ 38442 h 95370"/>
                  <a:gd name="connsiteX16" fmla="*/ 18492 w 64526"/>
                  <a:gd name="connsiteY16" fmla="*/ 38442 h 95370"/>
                  <a:gd name="connsiteX17" fmla="*/ 18492 w 64526"/>
                  <a:gd name="connsiteY17" fmla="*/ 18492 h 9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526" h="95370">
                    <a:moveTo>
                      <a:pt x="9246" y="95371"/>
                    </a:moveTo>
                    <a:cubicBezTo>
                      <a:pt x="14352" y="95371"/>
                      <a:pt x="18492" y="91231"/>
                      <a:pt x="18492" y="86125"/>
                    </a:cubicBezTo>
                    <a:lnTo>
                      <a:pt x="18492" y="56934"/>
                    </a:lnTo>
                    <a:lnTo>
                      <a:pt x="46034" y="56934"/>
                    </a:lnTo>
                    <a:lnTo>
                      <a:pt x="46034" y="86125"/>
                    </a:lnTo>
                    <a:cubicBezTo>
                      <a:pt x="46034" y="91231"/>
                      <a:pt x="50174" y="95371"/>
                      <a:pt x="55280" y="95371"/>
                    </a:cubicBezTo>
                    <a:cubicBezTo>
                      <a:pt x="60387" y="95371"/>
                      <a:pt x="64526" y="91231"/>
                      <a:pt x="64526" y="86125"/>
                    </a:cubicBezTo>
                    <a:lnTo>
                      <a:pt x="64526" y="9246"/>
                    </a:lnTo>
                    <a:cubicBezTo>
                      <a:pt x="64523" y="4141"/>
                      <a:pt x="60386" y="3"/>
                      <a:pt x="55280" y="0"/>
                    </a:cubicBezTo>
                    <a:lnTo>
                      <a:pt x="9246" y="0"/>
                    </a:lnTo>
                    <a:cubicBezTo>
                      <a:pt x="4140" y="0"/>
                      <a:pt x="0" y="4140"/>
                      <a:pt x="0" y="9246"/>
                    </a:cubicBezTo>
                    <a:lnTo>
                      <a:pt x="0" y="86125"/>
                    </a:lnTo>
                    <a:cubicBezTo>
                      <a:pt x="-3" y="91228"/>
                      <a:pt x="4132" y="95367"/>
                      <a:pt x="9235" y="95371"/>
                    </a:cubicBezTo>
                    <a:cubicBezTo>
                      <a:pt x="9239" y="95371"/>
                      <a:pt x="9242" y="95371"/>
                      <a:pt x="9246" y="95371"/>
                    </a:cubicBezTo>
                    <a:close/>
                    <a:moveTo>
                      <a:pt x="46034" y="18492"/>
                    </a:moveTo>
                    <a:lnTo>
                      <a:pt x="46034" y="38442"/>
                    </a:lnTo>
                    <a:lnTo>
                      <a:pt x="18492" y="38442"/>
                    </a:lnTo>
                    <a:lnTo>
                      <a:pt x="18492" y="18492"/>
                    </a:lnTo>
                    <a:close/>
                  </a:path>
                </a:pathLst>
              </a:custGeom>
              <a:solidFill>
                <a:schemeClr val="bg1"/>
              </a:solidFill>
              <a:ln w="5283" cap="flat">
                <a:noFill/>
                <a:prstDash val="solid"/>
                <a:miter/>
              </a:ln>
            </p:spPr>
            <p:txBody>
              <a:bodyPr rtlCol="0" anchor="ctr"/>
              <a:lstStyle/>
              <a:p>
                <a:endParaRPr lang="en-US" dirty="0">
                  <a:solidFill>
                    <a:schemeClr val="bg1"/>
                  </a:solidFill>
                  <a:latin typeface="Segoe UI" panose="020B0502040204020203" pitchFamily="34" charset="0"/>
                </a:endParaRPr>
              </a:p>
            </p:txBody>
          </p:sp>
        </p:grpSp>
      </p:grpSp>
    </p:spTree>
    <p:extLst>
      <p:ext uri="{BB962C8B-B14F-4D97-AF65-F5344CB8AC3E}">
        <p14:creationId xmlns:p14="http://schemas.microsoft.com/office/powerpoint/2010/main" val="8167304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C15EA-2C00-7EB5-C3F3-9421BB1A578D}"/>
              </a:ext>
            </a:extLst>
          </p:cNvPr>
          <p:cNvSpPr>
            <a:spLocks noGrp="1"/>
          </p:cNvSpPr>
          <p:nvPr>
            <p:ph type="title"/>
          </p:nvPr>
        </p:nvSpPr>
        <p:spPr>
          <a:xfrm>
            <a:off x="545015" y="388783"/>
            <a:ext cx="10658475" cy="590880"/>
          </a:xfrm>
        </p:spPr>
        <p:txBody>
          <a:bodyPr anchor="t">
            <a:normAutofit fontScale="90000"/>
          </a:bodyPr>
          <a:lstStyle/>
          <a:p>
            <a:r>
              <a:rPr lang="en-US" sz="3200" dirty="0"/>
              <a:t>Texas Teachers Ensure The STAAR Exam Reflects Classroom Experience </a:t>
            </a:r>
          </a:p>
        </p:txBody>
      </p:sp>
      <p:grpSp>
        <p:nvGrpSpPr>
          <p:cNvPr id="76" name="Group 75">
            <a:extLst>
              <a:ext uri="{FF2B5EF4-FFF2-40B4-BE49-F238E27FC236}">
                <a16:creationId xmlns:a16="http://schemas.microsoft.com/office/drawing/2014/main" id="{6AA3822E-1847-DA9E-0192-309309C83BBB}"/>
              </a:ext>
            </a:extLst>
          </p:cNvPr>
          <p:cNvGrpSpPr/>
          <p:nvPr/>
        </p:nvGrpSpPr>
        <p:grpSpPr>
          <a:xfrm>
            <a:off x="1091046" y="3009541"/>
            <a:ext cx="4121632" cy="919163"/>
            <a:chOff x="568606" y="2932051"/>
            <a:chExt cx="4121632" cy="919163"/>
          </a:xfrm>
        </p:grpSpPr>
        <p:sp>
          <p:nvSpPr>
            <p:cNvPr id="32" name="TextBox 31">
              <a:extLst>
                <a:ext uri="{FF2B5EF4-FFF2-40B4-BE49-F238E27FC236}">
                  <a16:creationId xmlns:a16="http://schemas.microsoft.com/office/drawing/2014/main" id="{C9433D9F-81B3-4782-0BA7-732CD1F90C33}"/>
                </a:ext>
              </a:extLst>
            </p:cNvPr>
            <p:cNvSpPr txBox="1"/>
            <p:nvPr/>
          </p:nvSpPr>
          <p:spPr>
            <a:xfrm>
              <a:off x="1640994" y="2971175"/>
              <a:ext cx="3049244" cy="646331"/>
            </a:xfrm>
            <a:prstGeom prst="rect">
              <a:avLst/>
            </a:prstGeom>
            <a:noFill/>
          </p:spPr>
          <p:txBody>
            <a:bodyPr wrap="square" lIns="0" rIns="0">
              <a:spAutoFit/>
            </a:bodyPr>
            <a:lstStyle/>
            <a:p>
              <a:r>
                <a:rPr lang="en-US" dirty="0">
                  <a:solidFill>
                    <a:schemeClr val="bg1"/>
                  </a:solidFill>
                  <a:latin typeface="Segoe UI" panose="020B0502040204020203" pitchFamily="34" charset="0"/>
                </a:rPr>
                <a:t>Between</a:t>
              </a:r>
              <a:r>
                <a:rPr lang="en-US" b="1" dirty="0">
                  <a:solidFill>
                    <a:schemeClr val="bg1"/>
                  </a:solidFill>
                  <a:latin typeface="Segoe UI" panose="020B0502040204020203" pitchFamily="34" charset="0"/>
                </a:rPr>
                <a:t> </a:t>
              </a:r>
              <a:r>
                <a:rPr lang="en-US" b="1" dirty="0">
                  <a:solidFill>
                    <a:schemeClr val="accent1"/>
                  </a:solidFill>
                  <a:latin typeface="Segoe UI" panose="020B0502040204020203" pitchFamily="34" charset="0"/>
                </a:rPr>
                <a:t>16-20 educators review </a:t>
              </a:r>
              <a:r>
                <a:rPr lang="en-US" dirty="0">
                  <a:solidFill>
                    <a:schemeClr val="bg1"/>
                  </a:solidFill>
                  <a:latin typeface="Segoe UI" panose="020B0502040204020203" pitchFamily="34" charset="0"/>
                </a:rPr>
                <a:t>each item. </a:t>
              </a:r>
            </a:p>
          </p:txBody>
        </p:sp>
        <p:grpSp>
          <p:nvGrpSpPr>
            <p:cNvPr id="33" name="Group 32">
              <a:extLst>
                <a:ext uri="{FF2B5EF4-FFF2-40B4-BE49-F238E27FC236}">
                  <a16:creationId xmlns:a16="http://schemas.microsoft.com/office/drawing/2014/main" id="{C1C43C74-46AC-3478-ADC2-6AAAFEB463E0}"/>
                </a:ext>
              </a:extLst>
            </p:cNvPr>
            <p:cNvGrpSpPr/>
            <p:nvPr/>
          </p:nvGrpSpPr>
          <p:grpSpPr>
            <a:xfrm>
              <a:off x="568606" y="2932051"/>
              <a:ext cx="919163" cy="919163"/>
              <a:chOff x="5976938" y="588978"/>
              <a:chExt cx="919163" cy="919163"/>
            </a:xfrm>
          </p:grpSpPr>
          <p:sp>
            <p:nvSpPr>
              <p:cNvPr id="34" name="Oval 33">
                <a:extLst>
                  <a:ext uri="{FF2B5EF4-FFF2-40B4-BE49-F238E27FC236}">
                    <a16:creationId xmlns:a16="http://schemas.microsoft.com/office/drawing/2014/main" id="{894FAD0E-B021-C99C-1EF5-848CF9E57A4D}"/>
                  </a:ext>
                </a:extLst>
              </p:cNvPr>
              <p:cNvSpPr/>
              <p:nvPr/>
            </p:nvSpPr>
            <p:spPr>
              <a:xfrm>
                <a:off x="5976938" y="588978"/>
                <a:ext cx="919163" cy="9191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atin typeface="Segoe UI" panose="020B0502040204020203" pitchFamily="34" charset="0"/>
                </a:endParaRPr>
              </a:p>
            </p:txBody>
          </p:sp>
          <p:pic>
            <p:nvPicPr>
              <p:cNvPr id="35" name="Graphic 34">
                <a:extLst>
                  <a:ext uri="{FF2B5EF4-FFF2-40B4-BE49-F238E27FC236}">
                    <a16:creationId xmlns:a16="http://schemas.microsoft.com/office/drawing/2014/main" id="{DC0B5E50-46C4-BEED-44D3-CCBD401C102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169820" y="781860"/>
                <a:ext cx="533398" cy="533398"/>
              </a:xfrm>
              <a:prstGeom prst="rect">
                <a:avLst/>
              </a:prstGeom>
            </p:spPr>
          </p:pic>
        </p:grpSp>
      </p:grpSp>
      <p:grpSp>
        <p:nvGrpSpPr>
          <p:cNvPr id="74" name="Group 73">
            <a:extLst>
              <a:ext uri="{FF2B5EF4-FFF2-40B4-BE49-F238E27FC236}">
                <a16:creationId xmlns:a16="http://schemas.microsoft.com/office/drawing/2014/main" id="{929E0BFB-300E-6B90-9CFC-B4A846AF73B0}"/>
              </a:ext>
            </a:extLst>
          </p:cNvPr>
          <p:cNvGrpSpPr/>
          <p:nvPr/>
        </p:nvGrpSpPr>
        <p:grpSpPr>
          <a:xfrm>
            <a:off x="1091046" y="4212663"/>
            <a:ext cx="4148117" cy="919163"/>
            <a:chOff x="558842" y="4263246"/>
            <a:chExt cx="4148117" cy="919163"/>
          </a:xfrm>
        </p:grpSpPr>
        <p:sp>
          <p:nvSpPr>
            <p:cNvPr id="36" name="TextBox 35">
              <a:extLst>
                <a:ext uri="{FF2B5EF4-FFF2-40B4-BE49-F238E27FC236}">
                  <a16:creationId xmlns:a16="http://schemas.microsoft.com/office/drawing/2014/main" id="{487792B2-E791-6603-3356-A6CA1792B1AF}"/>
                </a:ext>
              </a:extLst>
            </p:cNvPr>
            <p:cNvSpPr txBox="1"/>
            <p:nvPr/>
          </p:nvSpPr>
          <p:spPr>
            <a:xfrm>
              <a:off x="1603161" y="4324631"/>
              <a:ext cx="3103798" cy="646331"/>
            </a:xfrm>
            <a:prstGeom prst="rect">
              <a:avLst/>
            </a:prstGeom>
            <a:noFill/>
          </p:spPr>
          <p:txBody>
            <a:bodyPr wrap="square">
              <a:spAutoFit/>
            </a:bodyPr>
            <a:lstStyle/>
            <a:p>
              <a:r>
                <a:rPr lang="en-GB" dirty="0">
                  <a:solidFill>
                    <a:schemeClr val="bg1"/>
                  </a:solidFill>
                  <a:latin typeface="Segoe UI" panose="020B0502040204020203" pitchFamily="34" charset="0"/>
                </a:rPr>
                <a:t>There are around </a:t>
              </a:r>
              <a:r>
                <a:rPr lang="en-GB" b="1" dirty="0">
                  <a:solidFill>
                    <a:schemeClr val="accent1"/>
                  </a:solidFill>
                  <a:latin typeface="Segoe UI" panose="020B0502040204020203" pitchFamily="34" charset="0"/>
                </a:rPr>
                <a:t>50 items </a:t>
              </a:r>
              <a:r>
                <a:rPr lang="en-GB" dirty="0">
                  <a:solidFill>
                    <a:schemeClr val="bg1"/>
                  </a:solidFill>
                  <a:latin typeface="Segoe UI" panose="020B0502040204020203" pitchFamily="34" charset="0"/>
                </a:rPr>
                <a:t>on a STAAR exam. </a:t>
              </a:r>
              <a:endParaRPr lang="en-US" dirty="0">
                <a:solidFill>
                  <a:schemeClr val="bg1"/>
                </a:solidFill>
                <a:latin typeface="Segoe UI" panose="020B0502040204020203" pitchFamily="34" charset="0"/>
              </a:endParaRPr>
            </a:p>
          </p:txBody>
        </p:sp>
        <p:grpSp>
          <p:nvGrpSpPr>
            <p:cNvPr id="37" name="Group 36">
              <a:extLst>
                <a:ext uri="{FF2B5EF4-FFF2-40B4-BE49-F238E27FC236}">
                  <a16:creationId xmlns:a16="http://schemas.microsoft.com/office/drawing/2014/main" id="{B81C368F-C647-AC50-84EB-5805273FC3D7}"/>
                </a:ext>
              </a:extLst>
            </p:cNvPr>
            <p:cNvGrpSpPr/>
            <p:nvPr/>
          </p:nvGrpSpPr>
          <p:grpSpPr>
            <a:xfrm>
              <a:off x="558842" y="4263246"/>
              <a:ext cx="919163" cy="919163"/>
              <a:chOff x="571500" y="2960703"/>
              <a:chExt cx="919163" cy="919163"/>
            </a:xfrm>
          </p:grpSpPr>
          <p:sp>
            <p:nvSpPr>
              <p:cNvPr id="38" name="Oval 37">
                <a:extLst>
                  <a:ext uri="{FF2B5EF4-FFF2-40B4-BE49-F238E27FC236}">
                    <a16:creationId xmlns:a16="http://schemas.microsoft.com/office/drawing/2014/main" id="{266C3401-FAF8-F487-C000-81D4BA5CA24E}"/>
                  </a:ext>
                </a:extLst>
              </p:cNvPr>
              <p:cNvSpPr/>
              <p:nvPr/>
            </p:nvSpPr>
            <p:spPr>
              <a:xfrm>
                <a:off x="571500" y="2960703"/>
                <a:ext cx="919163" cy="9191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atin typeface="Segoe UI" panose="020B0502040204020203" pitchFamily="34" charset="0"/>
                </a:endParaRPr>
              </a:p>
            </p:txBody>
          </p:sp>
          <p:pic>
            <p:nvPicPr>
              <p:cNvPr id="39" name="Graphic 38">
                <a:extLst>
                  <a:ext uri="{FF2B5EF4-FFF2-40B4-BE49-F238E27FC236}">
                    <a16:creationId xmlns:a16="http://schemas.microsoft.com/office/drawing/2014/main" id="{6229A459-573B-CDDE-4D77-DD7775DA8825}"/>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60427" y="3149630"/>
                <a:ext cx="541308" cy="541308"/>
              </a:xfrm>
              <a:prstGeom prst="rect">
                <a:avLst/>
              </a:prstGeom>
            </p:spPr>
          </p:pic>
        </p:grpSp>
      </p:grpSp>
      <p:grpSp>
        <p:nvGrpSpPr>
          <p:cNvPr id="75" name="Group 74">
            <a:extLst>
              <a:ext uri="{FF2B5EF4-FFF2-40B4-BE49-F238E27FC236}">
                <a16:creationId xmlns:a16="http://schemas.microsoft.com/office/drawing/2014/main" id="{4CBE25B8-50BA-E4AD-ECDB-BB239B4847B4}"/>
              </a:ext>
            </a:extLst>
          </p:cNvPr>
          <p:cNvGrpSpPr/>
          <p:nvPr/>
        </p:nvGrpSpPr>
        <p:grpSpPr>
          <a:xfrm>
            <a:off x="1064561" y="1799930"/>
            <a:ext cx="4309781" cy="919163"/>
            <a:chOff x="537129" y="1584115"/>
            <a:chExt cx="4309781" cy="919163"/>
          </a:xfrm>
        </p:grpSpPr>
        <p:grpSp>
          <p:nvGrpSpPr>
            <p:cNvPr id="17" name="Group 16">
              <a:extLst>
                <a:ext uri="{FF2B5EF4-FFF2-40B4-BE49-F238E27FC236}">
                  <a16:creationId xmlns:a16="http://schemas.microsoft.com/office/drawing/2014/main" id="{5669B038-E1D7-AE8F-B1DE-85B792FA3579}"/>
                </a:ext>
              </a:extLst>
            </p:cNvPr>
            <p:cNvGrpSpPr/>
            <p:nvPr/>
          </p:nvGrpSpPr>
          <p:grpSpPr>
            <a:xfrm>
              <a:off x="537129" y="1584115"/>
              <a:ext cx="919163" cy="919163"/>
              <a:chOff x="571500" y="571846"/>
              <a:chExt cx="919163" cy="919163"/>
            </a:xfrm>
          </p:grpSpPr>
          <p:sp>
            <p:nvSpPr>
              <p:cNvPr id="18" name="Oval 17">
                <a:extLst>
                  <a:ext uri="{FF2B5EF4-FFF2-40B4-BE49-F238E27FC236}">
                    <a16:creationId xmlns:a16="http://schemas.microsoft.com/office/drawing/2014/main" id="{2CD5AD67-CC8D-1143-04D0-A3B8F6F14734}"/>
                  </a:ext>
                </a:extLst>
              </p:cNvPr>
              <p:cNvSpPr/>
              <p:nvPr/>
            </p:nvSpPr>
            <p:spPr>
              <a:xfrm>
                <a:off x="571500" y="571846"/>
                <a:ext cx="919163" cy="9191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atin typeface="Segoe UI" panose="020B0502040204020203" pitchFamily="34" charset="0"/>
                </a:endParaRPr>
              </a:p>
            </p:txBody>
          </p:sp>
          <p:grpSp>
            <p:nvGrpSpPr>
              <p:cNvPr id="19" name="Group 18">
                <a:extLst>
                  <a:ext uri="{FF2B5EF4-FFF2-40B4-BE49-F238E27FC236}">
                    <a16:creationId xmlns:a16="http://schemas.microsoft.com/office/drawing/2014/main" id="{98F2FCAA-D5ED-77D3-0EDE-5C74E237A096}"/>
                  </a:ext>
                </a:extLst>
              </p:cNvPr>
              <p:cNvGrpSpPr/>
              <p:nvPr/>
            </p:nvGrpSpPr>
            <p:grpSpPr>
              <a:xfrm>
                <a:off x="823083" y="799168"/>
                <a:ext cx="415996" cy="464518"/>
                <a:chOff x="893692" y="821665"/>
                <a:chExt cx="498768" cy="556944"/>
              </a:xfrm>
            </p:grpSpPr>
            <p:sp>
              <p:nvSpPr>
                <p:cNvPr id="20" name="Freeform: Shape 19">
                  <a:extLst>
                    <a:ext uri="{FF2B5EF4-FFF2-40B4-BE49-F238E27FC236}">
                      <a16:creationId xmlns:a16="http://schemas.microsoft.com/office/drawing/2014/main" id="{8D2CE32A-6352-8BD9-560B-EA1DCD8A758C}"/>
                    </a:ext>
                  </a:extLst>
                </p:cNvPr>
                <p:cNvSpPr/>
                <p:nvPr/>
              </p:nvSpPr>
              <p:spPr>
                <a:xfrm>
                  <a:off x="893692" y="821665"/>
                  <a:ext cx="498768" cy="556944"/>
                </a:xfrm>
                <a:custGeom>
                  <a:avLst/>
                  <a:gdLst>
                    <a:gd name="connsiteX0" fmla="*/ 49331 w 498768"/>
                    <a:gd name="connsiteY0" fmla="*/ 556944 h 556944"/>
                    <a:gd name="connsiteX1" fmla="*/ 449438 w 498768"/>
                    <a:gd name="connsiteY1" fmla="*/ 556944 h 556944"/>
                    <a:gd name="connsiteX2" fmla="*/ 498769 w 498768"/>
                    <a:gd name="connsiteY2" fmla="*/ 507618 h 556944"/>
                    <a:gd name="connsiteX3" fmla="*/ 498769 w 498768"/>
                    <a:gd name="connsiteY3" fmla="*/ 488677 h 556944"/>
                    <a:gd name="connsiteX4" fmla="*/ 489533 w 498768"/>
                    <a:gd name="connsiteY4" fmla="*/ 479431 h 556944"/>
                    <a:gd name="connsiteX5" fmla="*/ 489523 w 498768"/>
                    <a:gd name="connsiteY5" fmla="*/ 479431 h 556944"/>
                    <a:gd name="connsiteX6" fmla="*/ 418604 w 498768"/>
                    <a:gd name="connsiteY6" fmla="*/ 479431 h 556944"/>
                    <a:gd name="connsiteX7" fmla="*/ 418604 w 498768"/>
                    <a:gd name="connsiteY7" fmla="*/ 9246 h 556944"/>
                    <a:gd name="connsiteX8" fmla="*/ 409368 w 498768"/>
                    <a:gd name="connsiteY8" fmla="*/ 0 h 556944"/>
                    <a:gd name="connsiteX9" fmla="*/ 409358 w 498768"/>
                    <a:gd name="connsiteY9" fmla="*/ 0 h 556944"/>
                    <a:gd name="connsiteX10" fmla="*/ 9246 w 498768"/>
                    <a:gd name="connsiteY10" fmla="*/ 0 h 556944"/>
                    <a:gd name="connsiteX11" fmla="*/ 0 w 498768"/>
                    <a:gd name="connsiteY11" fmla="*/ 9235 h 556944"/>
                    <a:gd name="connsiteX12" fmla="*/ 0 w 498768"/>
                    <a:gd name="connsiteY12" fmla="*/ 9246 h 556944"/>
                    <a:gd name="connsiteX13" fmla="*/ 0 w 498768"/>
                    <a:gd name="connsiteY13" fmla="*/ 507618 h 556944"/>
                    <a:gd name="connsiteX14" fmla="*/ 49326 w 498768"/>
                    <a:gd name="connsiteY14" fmla="*/ 556944 h 556944"/>
                    <a:gd name="connsiteX15" fmla="*/ 480277 w 498768"/>
                    <a:gd name="connsiteY15" fmla="*/ 507618 h 556944"/>
                    <a:gd name="connsiteX16" fmla="*/ 449438 w 498768"/>
                    <a:gd name="connsiteY16" fmla="*/ 538452 h 556944"/>
                    <a:gd name="connsiteX17" fmla="*/ 87805 w 498768"/>
                    <a:gd name="connsiteY17" fmla="*/ 538452 h 556944"/>
                    <a:gd name="connsiteX18" fmla="*/ 98657 w 498768"/>
                    <a:gd name="connsiteY18" fmla="*/ 507618 h 556944"/>
                    <a:gd name="connsiteX19" fmla="*/ 98657 w 498768"/>
                    <a:gd name="connsiteY19" fmla="*/ 497923 h 556944"/>
                    <a:gd name="connsiteX20" fmla="*/ 480277 w 498768"/>
                    <a:gd name="connsiteY20" fmla="*/ 497923 h 556944"/>
                    <a:gd name="connsiteX21" fmla="*/ 18508 w 498768"/>
                    <a:gd name="connsiteY21" fmla="*/ 507618 h 556944"/>
                    <a:gd name="connsiteX22" fmla="*/ 18508 w 498768"/>
                    <a:gd name="connsiteY22" fmla="*/ 18492 h 556944"/>
                    <a:gd name="connsiteX23" fmla="*/ 400128 w 498768"/>
                    <a:gd name="connsiteY23" fmla="*/ 18492 h 556944"/>
                    <a:gd name="connsiteX24" fmla="*/ 400128 w 498768"/>
                    <a:gd name="connsiteY24" fmla="*/ 479431 h 556944"/>
                    <a:gd name="connsiteX25" fmla="*/ 89411 w 498768"/>
                    <a:gd name="connsiteY25" fmla="*/ 479431 h 556944"/>
                    <a:gd name="connsiteX26" fmla="*/ 80165 w 498768"/>
                    <a:gd name="connsiteY26" fmla="*/ 488667 h 556944"/>
                    <a:gd name="connsiteX27" fmla="*/ 80165 w 498768"/>
                    <a:gd name="connsiteY27" fmla="*/ 488677 h 556944"/>
                    <a:gd name="connsiteX28" fmla="*/ 80165 w 498768"/>
                    <a:gd name="connsiteY28" fmla="*/ 507618 h 556944"/>
                    <a:gd name="connsiteX29" fmla="*/ 49336 w 498768"/>
                    <a:gd name="connsiteY29" fmla="*/ 538452 h 556944"/>
                    <a:gd name="connsiteX30" fmla="*/ 18492 w 498768"/>
                    <a:gd name="connsiteY30" fmla="*/ 507618 h 556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98768" h="556944">
                      <a:moveTo>
                        <a:pt x="49331" y="556944"/>
                      </a:moveTo>
                      <a:lnTo>
                        <a:pt x="449438" y="556944"/>
                      </a:lnTo>
                      <a:cubicBezTo>
                        <a:pt x="476668" y="556912"/>
                        <a:pt x="498737" y="534849"/>
                        <a:pt x="498769" y="507618"/>
                      </a:cubicBezTo>
                      <a:lnTo>
                        <a:pt x="498769" y="488677"/>
                      </a:lnTo>
                      <a:cubicBezTo>
                        <a:pt x="498774" y="483574"/>
                        <a:pt x="494637" y="479437"/>
                        <a:pt x="489533" y="479431"/>
                      </a:cubicBezTo>
                      <a:cubicBezTo>
                        <a:pt x="489528" y="479431"/>
                        <a:pt x="489528" y="479431"/>
                        <a:pt x="489523" y="479431"/>
                      </a:cubicBezTo>
                      <a:lnTo>
                        <a:pt x="418604" y="479431"/>
                      </a:lnTo>
                      <a:lnTo>
                        <a:pt x="418604" y="9246"/>
                      </a:lnTo>
                      <a:cubicBezTo>
                        <a:pt x="418607" y="4143"/>
                        <a:pt x="414472" y="3"/>
                        <a:pt x="409368" y="0"/>
                      </a:cubicBezTo>
                      <a:cubicBezTo>
                        <a:pt x="409365" y="0"/>
                        <a:pt x="409361" y="0"/>
                        <a:pt x="409358" y="0"/>
                      </a:cubicBezTo>
                      <a:lnTo>
                        <a:pt x="9246" y="0"/>
                      </a:lnTo>
                      <a:cubicBezTo>
                        <a:pt x="4143" y="-3"/>
                        <a:pt x="3" y="4132"/>
                        <a:pt x="0" y="9235"/>
                      </a:cubicBezTo>
                      <a:cubicBezTo>
                        <a:pt x="0" y="9239"/>
                        <a:pt x="0" y="9242"/>
                        <a:pt x="0" y="9246"/>
                      </a:cubicBezTo>
                      <a:lnTo>
                        <a:pt x="0" y="507618"/>
                      </a:lnTo>
                      <a:cubicBezTo>
                        <a:pt x="29" y="534849"/>
                        <a:pt x="22096" y="556912"/>
                        <a:pt x="49326" y="556944"/>
                      </a:cubicBezTo>
                      <a:close/>
                      <a:moveTo>
                        <a:pt x="480277" y="507618"/>
                      </a:moveTo>
                      <a:cubicBezTo>
                        <a:pt x="480256" y="524642"/>
                        <a:pt x="466461" y="538436"/>
                        <a:pt x="449438" y="538452"/>
                      </a:cubicBezTo>
                      <a:lnTo>
                        <a:pt x="87805" y="538452"/>
                      </a:lnTo>
                      <a:cubicBezTo>
                        <a:pt x="94835" y="529714"/>
                        <a:pt x="98664" y="518835"/>
                        <a:pt x="98657" y="507618"/>
                      </a:cubicBezTo>
                      <a:lnTo>
                        <a:pt x="98657" y="497923"/>
                      </a:lnTo>
                      <a:lnTo>
                        <a:pt x="480277" y="497923"/>
                      </a:lnTo>
                      <a:close/>
                      <a:moveTo>
                        <a:pt x="18508" y="507618"/>
                      </a:moveTo>
                      <a:lnTo>
                        <a:pt x="18508" y="18492"/>
                      </a:lnTo>
                      <a:lnTo>
                        <a:pt x="400128" y="18492"/>
                      </a:lnTo>
                      <a:lnTo>
                        <a:pt x="400128" y="479431"/>
                      </a:lnTo>
                      <a:lnTo>
                        <a:pt x="89411" y="479431"/>
                      </a:lnTo>
                      <a:cubicBezTo>
                        <a:pt x="84308" y="479426"/>
                        <a:pt x="80168" y="483563"/>
                        <a:pt x="80165" y="488667"/>
                      </a:cubicBezTo>
                      <a:cubicBezTo>
                        <a:pt x="80165" y="488672"/>
                        <a:pt x="80165" y="488672"/>
                        <a:pt x="80165" y="488677"/>
                      </a:cubicBezTo>
                      <a:lnTo>
                        <a:pt x="80165" y="507618"/>
                      </a:lnTo>
                      <a:cubicBezTo>
                        <a:pt x="80148" y="524636"/>
                        <a:pt x="66356" y="538431"/>
                        <a:pt x="49336" y="538452"/>
                      </a:cubicBezTo>
                      <a:cubicBezTo>
                        <a:pt x="32312" y="538436"/>
                        <a:pt x="18513" y="524642"/>
                        <a:pt x="18492" y="507618"/>
                      </a:cubicBez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21" name="Freeform: Shape 20">
                  <a:extLst>
                    <a:ext uri="{FF2B5EF4-FFF2-40B4-BE49-F238E27FC236}">
                      <a16:creationId xmlns:a16="http://schemas.microsoft.com/office/drawing/2014/main" id="{E6A06958-76DB-4AB6-63BF-F3A842D636D7}"/>
                    </a:ext>
                  </a:extLst>
                </p:cNvPr>
                <p:cNvSpPr/>
                <p:nvPr/>
              </p:nvSpPr>
              <p:spPr>
                <a:xfrm>
                  <a:off x="1037184" y="1028991"/>
                  <a:ext cx="217147" cy="18491"/>
                </a:xfrm>
                <a:custGeom>
                  <a:avLst/>
                  <a:gdLst>
                    <a:gd name="connsiteX0" fmla="*/ 207902 w 217147"/>
                    <a:gd name="connsiteY0" fmla="*/ 0 h 18491"/>
                    <a:gd name="connsiteX1" fmla="*/ 9246 w 217147"/>
                    <a:gd name="connsiteY1" fmla="*/ 0 h 18491"/>
                    <a:gd name="connsiteX2" fmla="*/ 0 w 217147"/>
                    <a:gd name="connsiteY2" fmla="*/ 9246 h 18491"/>
                    <a:gd name="connsiteX3" fmla="*/ 9246 w 217147"/>
                    <a:gd name="connsiteY3" fmla="*/ 18492 h 18491"/>
                    <a:gd name="connsiteX4" fmla="*/ 207902 w 217147"/>
                    <a:gd name="connsiteY4" fmla="*/ 18492 h 18491"/>
                    <a:gd name="connsiteX5" fmla="*/ 217148 w 217147"/>
                    <a:gd name="connsiteY5" fmla="*/ 9246 h 18491"/>
                    <a:gd name="connsiteX6" fmla="*/ 207902 w 217147"/>
                    <a:gd name="connsiteY6" fmla="*/ 0 h 1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47" h="18491">
                      <a:moveTo>
                        <a:pt x="207902" y="0"/>
                      </a:moveTo>
                      <a:lnTo>
                        <a:pt x="9246" y="0"/>
                      </a:lnTo>
                      <a:cubicBezTo>
                        <a:pt x="4140" y="0"/>
                        <a:pt x="0" y="4140"/>
                        <a:pt x="0" y="9246"/>
                      </a:cubicBezTo>
                      <a:cubicBezTo>
                        <a:pt x="0" y="14352"/>
                        <a:pt x="4140" y="18492"/>
                        <a:pt x="9246" y="18492"/>
                      </a:cubicBezTo>
                      <a:lnTo>
                        <a:pt x="207902" y="18492"/>
                      </a:lnTo>
                      <a:cubicBezTo>
                        <a:pt x="213008" y="18492"/>
                        <a:pt x="217148" y="14352"/>
                        <a:pt x="217148" y="9246"/>
                      </a:cubicBezTo>
                      <a:cubicBezTo>
                        <a:pt x="217148" y="4140"/>
                        <a:pt x="213008" y="0"/>
                        <a:pt x="207902" y="0"/>
                      </a:cubicBez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22" name="Freeform: Shape 21">
                  <a:extLst>
                    <a:ext uri="{FF2B5EF4-FFF2-40B4-BE49-F238E27FC236}">
                      <a16:creationId xmlns:a16="http://schemas.microsoft.com/office/drawing/2014/main" id="{7BC0A384-40F4-E6E4-AA5B-AD65AAD1E431}"/>
                    </a:ext>
                  </a:extLst>
                </p:cNvPr>
                <p:cNvSpPr/>
                <p:nvPr/>
              </p:nvSpPr>
              <p:spPr>
                <a:xfrm>
                  <a:off x="1037184" y="1120679"/>
                  <a:ext cx="217147" cy="18491"/>
                </a:xfrm>
                <a:custGeom>
                  <a:avLst/>
                  <a:gdLst>
                    <a:gd name="connsiteX0" fmla="*/ 207902 w 217147"/>
                    <a:gd name="connsiteY0" fmla="*/ 0 h 18491"/>
                    <a:gd name="connsiteX1" fmla="*/ 9246 w 217147"/>
                    <a:gd name="connsiteY1" fmla="*/ 0 h 18491"/>
                    <a:gd name="connsiteX2" fmla="*/ 0 w 217147"/>
                    <a:gd name="connsiteY2" fmla="*/ 9246 h 18491"/>
                    <a:gd name="connsiteX3" fmla="*/ 9246 w 217147"/>
                    <a:gd name="connsiteY3" fmla="*/ 18492 h 18491"/>
                    <a:gd name="connsiteX4" fmla="*/ 207902 w 217147"/>
                    <a:gd name="connsiteY4" fmla="*/ 18492 h 18491"/>
                    <a:gd name="connsiteX5" fmla="*/ 217148 w 217147"/>
                    <a:gd name="connsiteY5" fmla="*/ 9246 h 18491"/>
                    <a:gd name="connsiteX6" fmla="*/ 207902 w 217147"/>
                    <a:gd name="connsiteY6" fmla="*/ 0 h 1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47" h="18491">
                      <a:moveTo>
                        <a:pt x="207902" y="0"/>
                      </a:moveTo>
                      <a:lnTo>
                        <a:pt x="9246" y="0"/>
                      </a:lnTo>
                      <a:cubicBezTo>
                        <a:pt x="4140" y="0"/>
                        <a:pt x="0" y="4140"/>
                        <a:pt x="0" y="9246"/>
                      </a:cubicBezTo>
                      <a:cubicBezTo>
                        <a:pt x="0" y="14352"/>
                        <a:pt x="4140" y="18492"/>
                        <a:pt x="9246" y="18492"/>
                      </a:cubicBezTo>
                      <a:lnTo>
                        <a:pt x="207902" y="18492"/>
                      </a:lnTo>
                      <a:cubicBezTo>
                        <a:pt x="213008" y="18492"/>
                        <a:pt x="217148" y="14352"/>
                        <a:pt x="217148" y="9246"/>
                      </a:cubicBezTo>
                      <a:cubicBezTo>
                        <a:pt x="217148" y="4140"/>
                        <a:pt x="213008" y="0"/>
                        <a:pt x="207902" y="0"/>
                      </a:cubicBez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23" name="Freeform: Shape 22">
                  <a:extLst>
                    <a:ext uri="{FF2B5EF4-FFF2-40B4-BE49-F238E27FC236}">
                      <a16:creationId xmlns:a16="http://schemas.microsoft.com/office/drawing/2014/main" id="{89575BD4-EA3A-9444-FFA6-81183C8523E7}"/>
                    </a:ext>
                  </a:extLst>
                </p:cNvPr>
                <p:cNvSpPr/>
                <p:nvPr/>
              </p:nvSpPr>
              <p:spPr>
                <a:xfrm>
                  <a:off x="951651" y="1098784"/>
                  <a:ext cx="62275" cy="62275"/>
                </a:xfrm>
                <a:custGeom>
                  <a:avLst/>
                  <a:gdLst>
                    <a:gd name="connsiteX0" fmla="*/ 53029 w 62275"/>
                    <a:gd name="connsiteY0" fmla="*/ 0 h 62275"/>
                    <a:gd name="connsiteX1" fmla="*/ 9246 w 62275"/>
                    <a:gd name="connsiteY1" fmla="*/ 0 h 62275"/>
                    <a:gd name="connsiteX2" fmla="*/ 0 w 62275"/>
                    <a:gd name="connsiteY2" fmla="*/ 9246 h 62275"/>
                    <a:gd name="connsiteX3" fmla="*/ 0 w 62275"/>
                    <a:gd name="connsiteY3" fmla="*/ 53029 h 62275"/>
                    <a:gd name="connsiteX4" fmla="*/ 9246 w 62275"/>
                    <a:gd name="connsiteY4" fmla="*/ 62275 h 62275"/>
                    <a:gd name="connsiteX5" fmla="*/ 53029 w 62275"/>
                    <a:gd name="connsiteY5" fmla="*/ 62275 h 62275"/>
                    <a:gd name="connsiteX6" fmla="*/ 62275 w 62275"/>
                    <a:gd name="connsiteY6" fmla="*/ 53040 h 62275"/>
                    <a:gd name="connsiteX7" fmla="*/ 62275 w 62275"/>
                    <a:gd name="connsiteY7" fmla="*/ 53029 h 62275"/>
                    <a:gd name="connsiteX8" fmla="*/ 62275 w 62275"/>
                    <a:gd name="connsiteY8" fmla="*/ 9246 h 62275"/>
                    <a:gd name="connsiteX9" fmla="*/ 53040 w 62275"/>
                    <a:gd name="connsiteY9" fmla="*/ 0 h 62275"/>
                    <a:gd name="connsiteX10" fmla="*/ 53029 w 62275"/>
                    <a:gd name="connsiteY10" fmla="*/ 0 h 62275"/>
                    <a:gd name="connsiteX11" fmla="*/ 43784 w 62275"/>
                    <a:gd name="connsiteY11" fmla="*/ 43784 h 62275"/>
                    <a:gd name="connsiteX12" fmla="*/ 18492 w 62275"/>
                    <a:gd name="connsiteY12" fmla="*/ 43784 h 62275"/>
                    <a:gd name="connsiteX13" fmla="*/ 18492 w 62275"/>
                    <a:gd name="connsiteY13" fmla="*/ 18492 h 62275"/>
                    <a:gd name="connsiteX14" fmla="*/ 43784 w 62275"/>
                    <a:gd name="connsiteY14" fmla="*/ 18492 h 6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75" h="62275">
                      <a:moveTo>
                        <a:pt x="53029" y="0"/>
                      </a:moveTo>
                      <a:lnTo>
                        <a:pt x="9246" y="0"/>
                      </a:lnTo>
                      <a:cubicBezTo>
                        <a:pt x="4140" y="0"/>
                        <a:pt x="0" y="4140"/>
                        <a:pt x="0" y="9246"/>
                      </a:cubicBezTo>
                      <a:lnTo>
                        <a:pt x="0" y="53029"/>
                      </a:lnTo>
                      <a:cubicBezTo>
                        <a:pt x="0" y="58136"/>
                        <a:pt x="4140" y="62275"/>
                        <a:pt x="9246" y="62275"/>
                      </a:cubicBezTo>
                      <a:lnTo>
                        <a:pt x="53029" y="62275"/>
                      </a:lnTo>
                      <a:cubicBezTo>
                        <a:pt x="58133" y="62278"/>
                        <a:pt x="62272" y="58143"/>
                        <a:pt x="62275" y="53040"/>
                      </a:cubicBezTo>
                      <a:cubicBezTo>
                        <a:pt x="62275" y="53036"/>
                        <a:pt x="62275" y="53033"/>
                        <a:pt x="62275" y="53029"/>
                      </a:cubicBezTo>
                      <a:lnTo>
                        <a:pt x="62275" y="9246"/>
                      </a:lnTo>
                      <a:cubicBezTo>
                        <a:pt x="62279" y="4143"/>
                        <a:pt x="58143" y="3"/>
                        <a:pt x="53040" y="0"/>
                      </a:cubicBezTo>
                      <a:cubicBezTo>
                        <a:pt x="53036" y="0"/>
                        <a:pt x="53033" y="0"/>
                        <a:pt x="53029" y="0"/>
                      </a:cubicBezTo>
                      <a:close/>
                      <a:moveTo>
                        <a:pt x="43784" y="43784"/>
                      </a:moveTo>
                      <a:lnTo>
                        <a:pt x="18492" y="43784"/>
                      </a:lnTo>
                      <a:lnTo>
                        <a:pt x="18492" y="18492"/>
                      </a:lnTo>
                      <a:lnTo>
                        <a:pt x="43784" y="18492"/>
                      </a:ln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24" name="Freeform: Shape 23">
                  <a:extLst>
                    <a:ext uri="{FF2B5EF4-FFF2-40B4-BE49-F238E27FC236}">
                      <a16:creationId xmlns:a16="http://schemas.microsoft.com/office/drawing/2014/main" id="{CB0435AA-CC14-D7BE-FAD5-AA1A333EB9C7}"/>
                    </a:ext>
                  </a:extLst>
                </p:cNvPr>
                <p:cNvSpPr/>
                <p:nvPr/>
              </p:nvSpPr>
              <p:spPr>
                <a:xfrm>
                  <a:off x="951651" y="1190483"/>
                  <a:ext cx="62275" cy="62275"/>
                </a:xfrm>
                <a:custGeom>
                  <a:avLst/>
                  <a:gdLst>
                    <a:gd name="connsiteX0" fmla="*/ 53029 w 62275"/>
                    <a:gd name="connsiteY0" fmla="*/ 0 h 62275"/>
                    <a:gd name="connsiteX1" fmla="*/ 9246 w 62275"/>
                    <a:gd name="connsiteY1" fmla="*/ 0 h 62275"/>
                    <a:gd name="connsiteX2" fmla="*/ 0 w 62275"/>
                    <a:gd name="connsiteY2" fmla="*/ 9246 h 62275"/>
                    <a:gd name="connsiteX3" fmla="*/ 0 w 62275"/>
                    <a:gd name="connsiteY3" fmla="*/ 53029 h 62275"/>
                    <a:gd name="connsiteX4" fmla="*/ 9246 w 62275"/>
                    <a:gd name="connsiteY4" fmla="*/ 62275 h 62275"/>
                    <a:gd name="connsiteX5" fmla="*/ 53029 w 62275"/>
                    <a:gd name="connsiteY5" fmla="*/ 62275 h 62275"/>
                    <a:gd name="connsiteX6" fmla="*/ 62275 w 62275"/>
                    <a:gd name="connsiteY6" fmla="*/ 53040 h 62275"/>
                    <a:gd name="connsiteX7" fmla="*/ 62275 w 62275"/>
                    <a:gd name="connsiteY7" fmla="*/ 53029 h 62275"/>
                    <a:gd name="connsiteX8" fmla="*/ 62275 w 62275"/>
                    <a:gd name="connsiteY8" fmla="*/ 9241 h 62275"/>
                    <a:gd name="connsiteX9" fmla="*/ 53035 w 62275"/>
                    <a:gd name="connsiteY9" fmla="*/ 0 h 62275"/>
                    <a:gd name="connsiteX10" fmla="*/ 53029 w 62275"/>
                    <a:gd name="connsiteY10" fmla="*/ 0 h 62275"/>
                    <a:gd name="connsiteX11" fmla="*/ 43784 w 62275"/>
                    <a:gd name="connsiteY11" fmla="*/ 43784 h 62275"/>
                    <a:gd name="connsiteX12" fmla="*/ 18492 w 62275"/>
                    <a:gd name="connsiteY12" fmla="*/ 43784 h 62275"/>
                    <a:gd name="connsiteX13" fmla="*/ 18492 w 62275"/>
                    <a:gd name="connsiteY13" fmla="*/ 18492 h 62275"/>
                    <a:gd name="connsiteX14" fmla="*/ 43784 w 62275"/>
                    <a:gd name="connsiteY14" fmla="*/ 18492 h 6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275" h="62275">
                      <a:moveTo>
                        <a:pt x="53029" y="0"/>
                      </a:moveTo>
                      <a:lnTo>
                        <a:pt x="9246" y="0"/>
                      </a:lnTo>
                      <a:cubicBezTo>
                        <a:pt x="4140" y="0"/>
                        <a:pt x="0" y="4140"/>
                        <a:pt x="0" y="9246"/>
                      </a:cubicBezTo>
                      <a:lnTo>
                        <a:pt x="0" y="53029"/>
                      </a:lnTo>
                      <a:cubicBezTo>
                        <a:pt x="0" y="58136"/>
                        <a:pt x="4140" y="62275"/>
                        <a:pt x="9246" y="62275"/>
                      </a:cubicBezTo>
                      <a:lnTo>
                        <a:pt x="53029" y="62275"/>
                      </a:lnTo>
                      <a:cubicBezTo>
                        <a:pt x="58133" y="62279"/>
                        <a:pt x="62272" y="58143"/>
                        <a:pt x="62275" y="53040"/>
                      </a:cubicBezTo>
                      <a:cubicBezTo>
                        <a:pt x="62275" y="53036"/>
                        <a:pt x="62275" y="53033"/>
                        <a:pt x="62275" y="53029"/>
                      </a:cubicBezTo>
                      <a:lnTo>
                        <a:pt x="62275" y="9241"/>
                      </a:lnTo>
                      <a:cubicBezTo>
                        <a:pt x="62275" y="4137"/>
                        <a:pt x="58138" y="0"/>
                        <a:pt x="53035" y="0"/>
                      </a:cubicBezTo>
                      <a:cubicBezTo>
                        <a:pt x="53033" y="0"/>
                        <a:pt x="53031" y="0"/>
                        <a:pt x="53029" y="0"/>
                      </a:cubicBezTo>
                      <a:close/>
                      <a:moveTo>
                        <a:pt x="43784" y="43784"/>
                      </a:moveTo>
                      <a:lnTo>
                        <a:pt x="18492" y="43784"/>
                      </a:lnTo>
                      <a:lnTo>
                        <a:pt x="18492" y="18492"/>
                      </a:lnTo>
                      <a:lnTo>
                        <a:pt x="43784" y="18492"/>
                      </a:ln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25" name="Freeform: Shape 24">
                  <a:extLst>
                    <a:ext uri="{FF2B5EF4-FFF2-40B4-BE49-F238E27FC236}">
                      <a16:creationId xmlns:a16="http://schemas.microsoft.com/office/drawing/2014/main" id="{4AD797EA-DB6F-767E-E894-8BFDF1C1C1BE}"/>
                    </a:ext>
                  </a:extLst>
                </p:cNvPr>
                <p:cNvSpPr/>
                <p:nvPr/>
              </p:nvSpPr>
              <p:spPr>
                <a:xfrm>
                  <a:off x="1037184" y="1212367"/>
                  <a:ext cx="217147" cy="18491"/>
                </a:xfrm>
                <a:custGeom>
                  <a:avLst/>
                  <a:gdLst>
                    <a:gd name="connsiteX0" fmla="*/ 207902 w 217147"/>
                    <a:gd name="connsiteY0" fmla="*/ 0 h 18491"/>
                    <a:gd name="connsiteX1" fmla="*/ 9246 w 217147"/>
                    <a:gd name="connsiteY1" fmla="*/ 0 h 18491"/>
                    <a:gd name="connsiteX2" fmla="*/ 0 w 217147"/>
                    <a:gd name="connsiteY2" fmla="*/ 9246 h 18491"/>
                    <a:gd name="connsiteX3" fmla="*/ 9246 w 217147"/>
                    <a:gd name="connsiteY3" fmla="*/ 18492 h 18491"/>
                    <a:gd name="connsiteX4" fmla="*/ 207902 w 217147"/>
                    <a:gd name="connsiteY4" fmla="*/ 18492 h 18491"/>
                    <a:gd name="connsiteX5" fmla="*/ 217148 w 217147"/>
                    <a:gd name="connsiteY5" fmla="*/ 9246 h 18491"/>
                    <a:gd name="connsiteX6" fmla="*/ 207902 w 217147"/>
                    <a:gd name="connsiteY6" fmla="*/ 0 h 1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47" h="18491">
                      <a:moveTo>
                        <a:pt x="207902" y="0"/>
                      </a:moveTo>
                      <a:lnTo>
                        <a:pt x="9246" y="0"/>
                      </a:lnTo>
                      <a:cubicBezTo>
                        <a:pt x="4140" y="0"/>
                        <a:pt x="0" y="4140"/>
                        <a:pt x="0" y="9246"/>
                      </a:cubicBezTo>
                      <a:cubicBezTo>
                        <a:pt x="0" y="14352"/>
                        <a:pt x="4140" y="18492"/>
                        <a:pt x="9246" y="18492"/>
                      </a:cubicBezTo>
                      <a:lnTo>
                        <a:pt x="207902" y="18492"/>
                      </a:lnTo>
                      <a:cubicBezTo>
                        <a:pt x="213008" y="18492"/>
                        <a:pt x="217148" y="14352"/>
                        <a:pt x="217148" y="9246"/>
                      </a:cubicBezTo>
                      <a:cubicBezTo>
                        <a:pt x="217148" y="4140"/>
                        <a:pt x="213008" y="0"/>
                        <a:pt x="207902" y="0"/>
                      </a:cubicBez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26" name="Freeform: Shape 25">
                  <a:extLst>
                    <a:ext uri="{FF2B5EF4-FFF2-40B4-BE49-F238E27FC236}">
                      <a16:creationId xmlns:a16="http://schemas.microsoft.com/office/drawing/2014/main" id="{B28EB27C-BE82-7731-A247-29D9BCFE508A}"/>
                    </a:ext>
                  </a:extLst>
                </p:cNvPr>
                <p:cNvSpPr/>
                <p:nvPr/>
              </p:nvSpPr>
              <p:spPr>
                <a:xfrm>
                  <a:off x="954401" y="1011754"/>
                  <a:ext cx="72580" cy="52846"/>
                </a:xfrm>
                <a:custGeom>
                  <a:avLst/>
                  <a:gdLst>
                    <a:gd name="connsiteX0" fmla="*/ 15778 w 72580"/>
                    <a:gd name="connsiteY0" fmla="*/ 17343 h 52846"/>
                    <a:gd name="connsiteX1" fmla="*/ 2707 w 72580"/>
                    <a:gd name="connsiteY1" fmla="*/ 17343 h 52846"/>
                    <a:gd name="connsiteX2" fmla="*/ 2707 w 72580"/>
                    <a:gd name="connsiteY2" fmla="*/ 30414 h 52846"/>
                    <a:gd name="connsiteX3" fmla="*/ 22430 w 72580"/>
                    <a:gd name="connsiteY3" fmla="*/ 50142 h 52846"/>
                    <a:gd name="connsiteX4" fmla="*/ 35507 w 72580"/>
                    <a:gd name="connsiteY4" fmla="*/ 50142 h 52846"/>
                    <a:gd name="connsiteX5" fmla="*/ 69759 w 72580"/>
                    <a:gd name="connsiteY5" fmla="*/ 15895 h 52846"/>
                    <a:gd name="connsiteX6" fmla="*/ 69983 w 72580"/>
                    <a:gd name="connsiteY6" fmla="*/ 2821 h 52846"/>
                    <a:gd name="connsiteX7" fmla="*/ 56910 w 72580"/>
                    <a:gd name="connsiteY7" fmla="*/ 2597 h 52846"/>
                    <a:gd name="connsiteX8" fmla="*/ 56682 w 72580"/>
                    <a:gd name="connsiteY8" fmla="*/ 2824 h 52846"/>
                    <a:gd name="connsiteX9" fmla="*/ 28966 w 72580"/>
                    <a:gd name="connsiteY9" fmla="*/ 30530 h 5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580" h="52846">
                      <a:moveTo>
                        <a:pt x="15778" y="17343"/>
                      </a:moveTo>
                      <a:cubicBezTo>
                        <a:pt x="12169" y="13733"/>
                        <a:pt x="6317" y="13733"/>
                        <a:pt x="2707" y="17343"/>
                      </a:cubicBezTo>
                      <a:cubicBezTo>
                        <a:pt x="-902" y="20952"/>
                        <a:pt x="-902" y="26804"/>
                        <a:pt x="2707" y="30414"/>
                      </a:cubicBezTo>
                      <a:lnTo>
                        <a:pt x="22430" y="50142"/>
                      </a:lnTo>
                      <a:cubicBezTo>
                        <a:pt x="26043" y="53748"/>
                        <a:pt x="31893" y="53748"/>
                        <a:pt x="35507" y="50142"/>
                      </a:cubicBezTo>
                      <a:lnTo>
                        <a:pt x="69759" y="15895"/>
                      </a:lnTo>
                      <a:cubicBezTo>
                        <a:pt x="73431" y="12347"/>
                        <a:pt x="73532" y="6493"/>
                        <a:pt x="69983" y="2821"/>
                      </a:cubicBezTo>
                      <a:cubicBezTo>
                        <a:pt x="66435" y="-851"/>
                        <a:pt x="60582" y="-951"/>
                        <a:pt x="56910" y="2597"/>
                      </a:cubicBezTo>
                      <a:cubicBezTo>
                        <a:pt x="56832" y="2671"/>
                        <a:pt x="56757" y="2747"/>
                        <a:pt x="56682" y="2824"/>
                      </a:cubicBezTo>
                      <a:lnTo>
                        <a:pt x="28966" y="30530"/>
                      </a:ln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27" name="Freeform: Shape 26">
                  <a:extLst>
                    <a:ext uri="{FF2B5EF4-FFF2-40B4-BE49-F238E27FC236}">
                      <a16:creationId xmlns:a16="http://schemas.microsoft.com/office/drawing/2014/main" id="{77F85490-FCED-5401-A908-77376F3C82C0}"/>
                    </a:ext>
                  </a:extLst>
                </p:cNvPr>
                <p:cNvSpPr/>
                <p:nvPr/>
              </p:nvSpPr>
              <p:spPr>
                <a:xfrm>
                  <a:off x="940524" y="862537"/>
                  <a:ext cx="64526" cy="95370"/>
                </a:xfrm>
                <a:custGeom>
                  <a:avLst/>
                  <a:gdLst>
                    <a:gd name="connsiteX0" fmla="*/ 9246 w 64526"/>
                    <a:gd name="connsiteY0" fmla="*/ 95371 h 95370"/>
                    <a:gd name="connsiteX1" fmla="*/ 55280 w 64526"/>
                    <a:gd name="connsiteY1" fmla="*/ 95371 h 95370"/>
                    <a:gd name="connsiteX2" fmla="*/ 64526 w 64526"/>
                    <a:gd name="connsiteY2" fmla="*/ 86125 h 95370"/>
                    <a:gd name="connsiteX3" fmla="*/ 55280 w 64526"/>
                    <a:gd name="connsiteY3" fmla="*/ 76879 h 95370"/>
                    <a:gd name="connsiteX4" fmla="*/ 18492 w 64526"/>
                    <a:gd name="connsiteY4" fmla="*/ 76879 h 95370"/>
                    <a:gd name="connsiteX5" fmla="*/ 18492 w 64526"/>
                    <a:gd name="connsiteY5" fmla="*/ 56934 h 95370"/>
                    <a:gd name="connsiteX6" fmla="*/ 55280 w 64526"/>
                    <a:gd name="connsiteY6" fmla="*/ 56934 h 95370"/>
                    <a:gd name="connsiteX7" fmla="*/ 64526 w 64526"/>
                    <a:gd name="connsiteY7" fmla="*/ 47688 h 95370"/>
                    <a:gd name="connsiteX8" fmla="*/ 55280 w 64526"/>
                    <a:gd name="connsiteY8" fmla="*/ 38442 h 95370"/>
                    <a:gd name="connsiteX9" fmla="*/ 18492 w 64526"/>
                    <a:gd name="connsiteY9" fmla="*/ 38442 h 95370"/>
                    <a:gd name="connsiteX10" fmla="*/ 18492 w 64526"/>
                    <a:gd name="connsiteY10" fmla="*/ 18492 h 95370"/>
                    <a:gd name="connsiteX11" fmla="*/ 55280 w 64526"/>
                    <a:gd name="connsiteY11" fmla="*/ 18492 h 95370"/>
                    <a:gd name="connsiteX12" fmla="*/ 64526 w 64526"/>
                    <a:gd name="connsiteY12" fmla="*/ 9246 h 95370"/>
                    <a:gd name="connsiteX13" fmla="*/ 55280 w 64526"/>
                    <a:gd name="connsiteY13" fmla="*/ 0 h 95370"/>
                    <a:gd name="connsiteX14" fmla="*/ 9246 w 64526"/>
                    <a:gd name="connsiteY14" fmla="*/ 0 h 95370"/>
                    <a:gd name="connsiteX15" fmla="*/ 0 w 64526"/>
                    <a:gd name="connsiteY15" fmla="*/ 9246 h 95370"/>
                    <a:gd name="connsiteX16" fmla="*/ 0 w 64526"/>
                    <a:gd name="connsiteY16" fmla="*/ 86125 h 95370"/>
                    <a:gd name="connsiteX17" fmla="*/ 9235 w 64526"/>
                    <a:gd name="connsiteY17" fmla="*/ 95371 h 95370"/>
                    <a:gd name="connsiteX18" fmla="*/ 9246 w 64526"/>
                    <a:gd name="connsiteY18" fmla="*/ 95371 h 9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526" h="95370">
                      <a:moveTo>
                        <a:pt x="9246" y="95371"/>
                      </a:moveTo>
                      <a:lnTo>
                        <a:pt x="55280" y="95371"/>
                      </a:lnTo>
                      <a:cubicBezTo>
                        <a:pt x="60387" y="95371"/>
                        <a:pt x="64526" y="91231"/>
                        <a:pt x="64526" y="86125"/>
                      </a:cubicBezTo>
                      <a:cubicBezTo>
                        <a:pt x="64526" y="81018"/>
                        <a:pt x="60387" y="76879"/>
                        <a:pt x="55280" y="76879"/>
                      </a:cubicBezTo>
                      <a:lnTo>
                        <a:pt x="18492" y="76879"/>
                      </a:lnTo>
                      <a:lnTo>
                        <a:pt x="18492" y="56934"/>
                      </a:lnTo>
                      <a:lnTo>
                        <a:pt x="55280" y="56934"/>
                      </a:lnTo>
                      <a:cubicBezTo>
                        <a:pt x="60387" y="56934"/>
                        <a:pt x="64526" y="52794"/>
                        <a:pt x="64526" y="47688"/>
                      </a:cubicBezTo>
                      <a:cubicBezTo>
                        <a:pt x="64526" y="42582"/>
                        <a:pt x="60387" y="38442"/>
                        <a:pt x="55280" y="38442"/>
                      </a:cubicBezTo>
                      <a:lnTo>
                        <a:pt x="18492" y="38442"/>
                      </a:lnTo>
                      <a:lnTo>
                        <a:pt x="18492" y="18492"/>
                      </a:lnTo>
                      <a:lnTo>
                        <a:pt x="55280" y="18492"/>
                      </a:lnTo>
                      <a:cubicBezTo>
                        <a:pt x="60387" y="18492"/>
                        <a:pt x="64526" y="14352"/>
                        <a:pt x="64526" y="9246"/>
                      </a:cubicBezTo>
                      <a:cubicBezTo>
                        <a:pt x="64526" y="4140"/>
                        <a:pt x="60387" y="0"/>
                        <a:pt x="55280" y="0"/>
                      </a:cubicBezTo>
                      <a:lnTo>
                        <a:pt x="9246" y="0"/>
                      </a:lnTo>
                      <a:cubicBezTo>
                        <a:pt x="4140" y="0"/>
                        <a:pt x="0" y="4140"/>
                        <a:pt x="0" y="9246"/>
                      </a:cubicBezTo>
                      <a:lnTo>
                        <a:pt x="0" y="86125"/>
                      </a:lnTo>
                      <a:cubicBezTo>
                        <a:pt x="-3" y="91228"/>
                        <a:pt x="4132" y="95367"/>
                        <a:pt x="9235" y="95371"/>
                      </a:cubicBezTo>
                      <a:cubicBezTo>
                        <a:pt x="9239" y="95371"/>
                        <a:pt x="9242" y="95371"/>
                        <a:pt x="9246" y="95371"/>
                      </a:cubicBez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28" name="Freeform: Shape 27">
                  <a:extLst>
                    <a:ext uri="{FF2B5EF4-FFF2-40B4-BE49-F238E27FC236}">
                      <a16:creationId xmlns:a16="http://schemas.microsoft.com/office/drawing/2014/main" id="{78D47FB8-1867-1260-EB4E-223EE020AB7B}"/>
                    </a:ext>
                  </a:extLst>
                </p:cNvPr>
                <p:cNvSpPr/>
                <p:nvPr/>
              </p:nvSpPr>
              <p:spPr>
                <a:xfrm>
                  <a:off x="1181553" y="862539"/>
                  <a:ext cx="83905" cy="95369"/>
                </a:xfrm>
                <a:custGeom>
                  <a:avLst/>
                  <a:gdLst>
                    <a:gd name="connsiteX0" fmla="*/ 9235 w 83905"/>
                    <a:gd name="connsiteY0" fmla="*/ 95369 h 95369"/>
                    <a:gd name="connsiteX1" fmla="*/ 18481 w 83905"/>
                    <a:gd name="connsiteY1" fmla="*/ 86134 h 95369"/>
                    <a:gd name="connsiteX2" fmla="*/ 18481 w 83905"/>
                    <a:gd name="connsiteY2" fmla="*/ 86123 h 95369"/>
                    <a:gd name="connsiteX3" fmla="*/ 18481 w 83905"/>
                    <a:gd name="connsiteY3" fmla="*/ 35366 h 95369"/>
                    <a:gd name="connsiteX4" fmla="*/ 34759 w 83905"/>
                    <a:gd name="connsiteY4" fmla="*/ 55469 h 95369"/>
                    <a:gd name="connsiteX5" fmla="*/ 48239 w 83905"/>
                    <a:gd name="connsiteY5" fmla="*/ 56366 h 95369"/>
                    <a:gd name="connsiteX6" fmla="*/ 49136 w 83905"/>
                    <a:gd name="connsiteY6" fmla="*/ 55469 h 95369"/>
                    <a:gd name="connsiteX7" fmla="*/ 65414 w 83905"/>
                    <a:gd name="connsiteY7" fmla="*/ 35392 h 95369"/>
                    <a:gd name="connsiteX8" fmla="*/ 65414 w 83905"/>
                    <a:gd name="connsiteY8" fmla="*/ 86123 h 95369"/>
                    <a:gd name="connsiteX9" fmla="*/ 74660 w 83905"/>
                    <a:gd name="connsiteY9" fmla="*/ 95369 h 95369"/>
                    <a:gd name="connsiteX10" fmla="*/ 83906 w 83905"/>
                    <a:gd name="connsiteY10" fmla="*/ 86123 h 95369"/>
                    <a:gd name="connsiteX11" fmla="*/ 83906 w 83905"/>
                    <a:gd name="connsiteY11" fmla="*/ 9245 h 95369"/>
                    <a:gd name="connsiteX12" fmla="*/ 74653 w 83905"/>
                    <a:gd name="connsiteY12" fmla="*/ 5 h 95369"/>
                    <a:gd name="connsiteX13" fmla="*/ 67474 w 83905"/>
                    <a:gd name="connsiteY13" fmla="*/ 3433 h 95369"/>
                    <a:gd name="connsiteX14" fmla="*/ 41945 w 83905"/>
                    <a:gd name="connsiteY14" fmla="*/ 34964 h 95369"/>
                    <a:gd name="connsiteX15" fmla="*/ 16431 w 83905"/>
                    <a:gd name="connsiteY15" fmla="*/ 3428 h 95369"/>
                    <a:gd name="connsiteX16" fmla="*/ 3427 w 83905"/>
                    <a:gd name="connsiteY16" fmla="*/ 2061 h 95369"/>
                    <a:gd name="connsiteX17" fmla="*/ 0 w 83905"/>
                    <a:gd name="connsiteY17" fmla="*/ 9239 h 95369"/>
                    <a:gd name="connsiteX18" fmla="*/ 0 w 83905"/>
                    <a:gd name="connsiteY18" fmla="*/ 86123 h 95369"/>
                    <a:gd name="connsiteX19" fmla="*/ 9235 w 83905"/>
                    <a:gd name="connsiteY19" fmla="*/ 95369 h 95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905" h="95369">
                      <a:moveTo>
                        <a:pt x="9235" y="95369"/>
                      </a:moveTo>
                      <a:cubicBezTo>
                        <a:pt x="14339" y="95372"/>
                        <a:pt x="18479" y="91237"/>
                        <a:pt x="18481" y="86134"/>
                      </a:cubicBezTo>
                      <a:cubicBezTo>
                        <a:pt x="18481" y="86130"/>
                        <a:pt x="18481" y="86127"/>
                        <a:pt x="18481" y="86123"/>
                      </a:cubicBezTo>
                      <a:lnTo>
                        <a:pt x="18481" y="35366"/>
                      </a:lnTo>
                      <a:lnTo>
                        <a:pt x="34759" y="55469"/>
                      </a:lnTo>
                      <a:cubicBezTo>
                        <a:pt x="38234" y="59439"/>
                        <a:pt x="44269" y="59840"/>
                        <a:pt x="48239" y="56366"/>
                      </a:cubicBezTo>
                      <a:cubicBezTo>
                        <a:pt x="48557" y="56087"/>
                        <a:pt x="48857" y="55788"/>
                        <a:pt x="49136" y="55469"/>
                      </a:cubicBezTo>
                      <a:lnTo>
                        <a:pt x="65414" y="35392"/>
                      </a:lnTo>
                      <a:lnTo>
                        <a:pt x="65414" y="86123"/>
                      </a:lnTo>
                      <a:cubicBezTo>
                        <a:pt x="65414" y="91230"/>
                        <a:pt x="69553" y="95369"/>
                        <a:pt x="74660" y="95369"/>
                      </a:cubicBezTo>
                      <a:cubicBezTo>
                        <a:pt x="79766" y="95369"/>
                        <a:pt x="83906" y="91230"/>
                        <a:pt x="83906" y="86123"/>
                      </a:cubicBezTo>
                      <a:lnTo>
                        <a:pt x="83906" y="9245"/>
                      </a:lnTo>
                      <a:cubicBezTo>
                        <a:pt x="83902" y="4138"/>
                        <a:pt x="79759" y="2"/>
                        <a:pt x="74653" y="5"/>
                      </a:cubicBezTo>
                      <a:cubicBezTo>
                        <a:pt x="71866" y="8"/>
                        <a:pt x="69228" y="1267"/>
                        <a:pt x="67474" y="3433"/>
                      </a:cubicBezTo>
                      <a:lnTo>
                        <a:pt x="41945" y="34964"/>
                      </a:lnTo>
                      <a:lnTo>
                        <a:pt x="16431" y="3428"/>
                      </a:lnTo>
                      <a:cubicBezTo>
                        <a:pt x="13218" y="-541"/>
                        <a:pt x="7396" y="-1153"/>
                        <a:pt x="3427" y="2061"/>
                      </a:cubicBezTo>
                      <a:cubicBezTo>
                        <a:pt x="1261" y="3815"/>
                        <a:pt x="2" y="6452"/>
                        <a:pt x="0" y="9239"/>
                      </a:cubicBezTo>
                      <a:lnTo>
                        <a:pt x="0" y="86123"/>
                      </a:lnTo>
                      <a:cubicBezTo>
                        <a:pt x="-3" y="91226"/>
                        <a:pt x="4132" y="95366"/>
                        <a:pt x="9235" y="95369"/>
                      </a:cubicBez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29" name="Freeform: Shape 28">
                  <a:extLst>
                    <a:ext uri="{FF2B5EF4-FFF2-40B4-BE49-F238E27FC236}">
                      <a16:creationId xmlns:a16="http://schemas.microsoft.com/office/drawing/2014/main" id="{9A0ADDEC-0731-1056-8A8F-FCA7B17360A4}"/>
                    </a:ext>
                  </a:extLst>
                </p:cNvPr>
                <p:cNvSpPr/>
                <p:nvPr/>
              </p:nvSpPr>
              <p:spPr>
                <a:xfrm>
                  <a:off x="1017488" y="862539"/>
                  <a:ext cx="74664" cy="95385"/>
                </a:xfrm>
                <a:custGeom>
                  <a:avLst/>
                  <a:gdLst>
                    <a:gd name="connsiteX0" fmla="*/ 3787 w 74664"/>
                    <a:gd name="connsiteY0" fmla="*/ 93588 h 95385"/>
                    <a:gd name="connsiteX1" fmla="*/ 16700 w 74664"/>
                    <a:gd name="connsiteY1" fmla="*/ 91582 h 95385"/>
                    <a:gd name="connsiteX2" fmla="*/ 16705 w 74664"/>
                    <a:gd name="connsiteY2" fmla="*/ 91575 h 95385"/>
                    <a:gd name="connsiteX3" fmla="*/ 37310 w 74664"/>
                    <a:gd name="connsiteY3" fmla="*/ 63357 h 95385"/>
                    <a:gd name="connsiteX4" fmla="*/ 57916 w 74664"/>
                    <a:gd name="connsiteY4" fmla="*/ 91575 h 95385"/>
                    <a:gd name="connsiteX5" fmla="*/ 70847 w 74664"/>
                    <a:gd name="connsiteY5" fmla="*/ 93612 h 95385"/>
                    <a:gd name="connsiteX6" fmla="*/ 72883 w 74664"/>
                    <a:gd name="connsiteY6" fmla="*/ 80681 h 95385"/>
                    <a:gd name="connsiteX7" fmla="*/ 48781 w 74664"/>
                    <a:gd name="connsiteY7" fmla="*/ 47686 h 95385"/>
                    <a:gd name="connsiteX8" fmla="*/ 72883 w 74664"/>
                    <a:gd name="connsiteY8" fmla="*/ 14702 h 95385"/>
                    <a:gd name="connsiteX9" fmla="*/ 70873 w 74664"/>
                    <a:gd name="connsiteY9" fmla="*/ 1781 h 95385"/>
                    <a:gd name="connsiteX10" fmla="*/ 57953 w 74664"/>
                    <a:gd name="connsiteY10" fmla="*/ 3792 h 95385"/>
                    <a:gd name="connsiteX11" fmla="*/ 37347 w 74664"/>
                    <a:gd name="connsiteY11" fmla="*/ 32016 h 95385"/>
                    <a:gd name="connsiteX12" fmla="*/ 16742 w 74664"/>
                    <a:gd name="connsiteY12" fmla="*/ 3792 h 95385"/>
                    <a:gd name="connsiteX13" fmla="*/ 3821 w 74664"/>
                    <a:gd name="connsiteY13" fmla="*/ 1781 h 95385"/>
                    <a:gd name="connsiteX14" fmla="*/ 1811 w 74664"/>
                    <a:gd name="connsiteY14" fmla="*/ 14702 h 95385"/>
                    <a:gd name="connsiteX15" fmla="*/ 25914 w 74664"/>
                    <a:gd name="connsiteY15" fmla="*/ 47686 h 95385"/>
                    <a:gd name="connsiteX16" fmla="*/ 1774 w 74664"/>
                    <a:gd name="connsiteY16" fmla="*/ 80681 h 95385"/>
                    <a:gd name="connsiteX17" fmla="*/ 3787 w 74664"/>
                    <a:gd name="connsiteY17" fmla="*/ 93588 h 9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664" h="95385">
                      <a:moveTo>
                        <a:pt x="3787" y="93588"/>
                      </a:moveTo>
                      <a:cubicBezTo>
                        <a:pt x="7907" y="96600"/>
                        <a:pt x="13689" y="95702"/>
                        <a:pt x="16700" y="91582"/>
                      </a:cubicBezTo>
                      <a:cubicBezTo>
                        <a:pt x="16702" y="91580"/>
                        <a:pt x="16703" y="91577"/>
                        <a:pt x="16705" y="91575"/>
                      </a:cubicBezTo>
                      <a:lnTo>
                        <a:pt x="37310" y="63357"/>
                      </a:lnTo>
                      <a:lnTo>
                        <a:pt x="57916" y="91575"/>
                      </a:lnTo>
                      <a:cubicBezTo>
                        <a:pt x="60924" y="95708"/>
                        <a:pt x="66713" y="96620"/>
                        <a:pt x="70847" y="93612"/>
                      </a:cubicBezTo>
                      <a:cubicBezTo>
                        <a:pt x="74980" y="90604"/>
                        <a:pt x="75892" y="84814"/>
                        <a:pt x="72883" y="80681"/>
                      </a:cubicBezTo>
                      <a:lnTo>
                        <a:pt x="48781" y="47686"/>
                      </a:lnTo>
                      <a:lnTo>
                        <a:pt x="72883" y="14702"/>
                      </a:lnTo>
                      <a:cubicBezTo>
                        <a:pt x="75896" y="10579"/>
                        <a:pt x="74996" y="4794"/>
                        <a:pt x="70873" y="1781"/>
                      </a:cubicBezTo>
                      <a:cubicBezTo>
                        <a:pt x="66750" y="-1231"/>
                        <a:pt x="60965" y="-332"/>
                        <a:pt x="57953" y="3792"/>
                      </a:cubicBezTo>
                      <a:lnTo>
                        <a:pt x="37347" y="32016"/>
                      </a:lnTo>
                      <a:lnTo>
                        <a:pt x="16742" y="3792"/>
                      </a:lnTo>
                      <a:cubicBezTo>
                        <a:pt x="13729" y="-332"/>
                        <a:pt x="7945" y="-1231"/>
                        <a:pt x="3821" y="1781"/>
                      </a:cubicBezTo>
                      <a:cubicBezTo>
                        <a:pt x="-302" y="4794"/>
                        <a:pt x="-1201" y="10579"/>
                        <a:pt x="1811" y="14702"/>
                      </a:cubicBezTo>
                      <a:lnTo>
                        <a:pt x="25914" y="47686"/>
                      </a:lnTo>
                      <a:lnTo>
                        <a:pt x="1774" y="80681"/>
                      </a:lnTo>
                      <a:cubicBezTo>
                        <a:pt x="-1229" y="84803"/>
                        <a:pt x="-329" y="90577"/>
                        <a:pt x="3787" y="93588"/>
                      </a:cubicBez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sp>
              <p:nvSpPr>
                <p:cNvPr id="30" name="Freeform: Shape 29">
                  <a:extLst>
                    <a:ext uri="{FF2B5EF4-FFF2-40B4-BE49-F238E27FC236}">
                      <a16:creationId xmlns:a16="http://schemas.microsoft.com/office/drawing/2014/main" id="{02A25387-AF15-D0FC-3E6B-553DBDB74388}"/>
                    </a:ext>
                  </a:extLst>
                </p:cNvPr>
                <p:cNvSpPr/>
                <p:nvPr/>
              </p:nvSpPr>
              <p:spPr>
                <a:xfrm>
                  <a:off x="1104584" y="862537"/>
                  <a:ext cx="64526" cy="95370"/>
                </a:xfrm>
                <a:custGeom>
                  <a:avLst/>
                  <a:gdLst>
                    <a:gd name="connsiteX0" fmla="*/ 9246 w 64526"/>
                    <a:gd name="connsiteY0" fmla="*/ 95371 h 95370"/>
                    <a:gd name="connsiteX1" fmla="*/ 18492 w 64526"/>
                    <a:gd name="connsiteY1" fmla="*/ 86125 h 95370"/>
                    <a:gd name="connsiteX2" fmla="*/ 18492 w 64526"/>
                    <a:gd name="connsiteY2" fmla="*/ 56934 h 95370"/>
                    <a:gd name="connsiteX3" fmla="*/ 46034 w 64526"/>
                    <a:gd name="connsiteY3" fmla="*/ 56934 h 95370"/>
                    <a:gd name="connsiteX4" fmla="*/ 46034 w 64526"/>
                    <a:gd name="connsiteY4" fmla="*/ 86125 h 95370"/>
                    <a:gd name="connsiteX5" fmla="*/ 55280 w 64526"/>
                    <a:gd name="connsiteY5" fmla="*/ 95371 h 95370"/>
                    <a:gd name="connsiteX6" fmla="*/ 64526 w 64526"/>
                    <a:gd name="connsiteY6" fmla="*/ 86125 h 95370"/>
                    <a:gd name="connsiteX7" fmla="*/ 64526 w 64526"/>
                    <a:gd name="connsiteY7" fmla="*/ 9246 h 95370"/>
                    <a:gd name="connsiteX8" fmla="*/ 55280 w 64526"/>
                    <a:gd name="connsiteY8" fmla="*/ 0 h 95370"/>
                    <a:gd name="connsiteX9" fmla="*/ 9246 w 64526"/>
                    <a:gd name="connsiteY9" fmla="*/ 0 h 95370"/>
                    <a:gd name="connsiteX10" fmla="*/ 0 w 64526"/>
                    <a:gd name="connsiteY10" fmla="*/ 9246 h 95370"/>
                    <a:gd name="connsiteX11" fmla="*/ 0 w 64526"/>
                    <a:gd name="connsiteY11" fmla="*/ 86125 h 95370"/>
                    <a:gd name="connsiteX12" fmla="*/ 9235 w 64526"/>
                    <a:gd name="connsiteY12" fmla="*/ 95371 h 95370"/>
                    <a:gd name="connsiteX13" fmla="*/ 9246 w 64526"/>
                    <a:gd name="connsiteY13" fmla="*/ 95371 h 95370"/>
                    <a:gd name="connsiteX14" fmla="*/ 46034 w 64526"/>
                    <a:gd name="connsiteY14" fmla="*/ 18492 h 95370"/>
                    <a:gd name="connsiteX15" fmla="*/ 46034 w 64526"/>
                    <a:gd name="connsiteY15" fmla="*/ 38442 h 95370"/>
                    <a:gd name="connsiteX16" fmla="*/ 18492 w 64526"/>
                    <a:gd name="connsiteY16" fmla="*/ 38442 h 95370"/>
                    <a:gd name="connsiteX17" fmla="*/ 18492 w 64526"/>
                    <a:gd name="connsiteY17" fmla="*/ 18492 h 9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526" h="95370">
                      <a:moveTo>
                        <a:pt x="9246" y="95371"/>
                      </a:moveTo>
                      <a:cubicBezTo>
                        <a:pt x="14352" y="95371"/>
                        <a:pt x="18492" y="91231"/>
                        <a:pt x="18492" y="86125"/>
                      </a:cubicBezTo>
                      <a:lnTo>
                        <a:pt x="18492" y="56934"/>
                      </a:lnTo>
                      <a:lnTo>
                        <a:pt x="46034" y="56934"/>
                      </a:lnTo>
                      <a:lnTo>
                        <a:pt x="46034" y="86125"/>
                      </a:lnTo>
                      <a:cubicBezTo>
                        <a:pt x="46034" y="91231"/>
                        <a:pt x="50174" y="95371"/>
                        <a:pt x="55280" y="95371"/>
                      </a:cubicBezTo>
                      <a:cubicBezTo>
                        <a:pt x="60387" y="95371"/>
                        <a:pt x="64526" y="91231"/>
                        <a:pt x="64526" y="86125"/>
                      </a:cubicBezTo>
                      <a:lnTo>
                        <a:pt x="64526" y="9246"/>
                      </a:lnTo>
                      <a:cubicBezTo>
                        <a:pt x="64523" y="4141"/>
                        <a:pt x="60386" y="3"/>
                        <a:pt x="55280" y="0"/>
                      </a:cubicBezTo>
                      <a:lnTo>
                        <a:pt x="9246" y="0"/>
                      </a:lnTo>
                      <a:cubicBezTo>
                        <a:pt x="4140" y="0"/>
                        <a:pt x="0" y="4140"/>
                        <a:pt x="0" y="9246"/>
                      </a:cubicBezTo>
                      <a:lnTo>
                        <a:pt x="0" y="86125"/>
                      </a:lnTo>
                      <a:cubicBezTo>
                        <a:pt x="-3" y="91228"/>
                        <a:pt x="4132" y="95367"/>
                        <a:pt x="9235" y="95371"/>
                      </a:cubicBezTo>
                      <a:cubicBezTo>
                        <a:pt x="9239" y="95371"/>
                        <a:pt x="9242" y="95371"/>
                        <a:pt x="9246" y="95371"/>
                      </a:cubicBezTo>
                      <a:close/>
                      <a:moveTo>
                        <a:pt x="46034" y="18492"/>
                      </a:moveTo>
                      <a:lnTo>
                        <a:pt x="46034" y="38442"/>
                      </a:lnTo>
                      <a:lnTo>
                        <a:pt x="18492" y="38442"/>
                      </a:lnTo>
                      <a:lnTo>
                        <a:pt x="18492" y="18492"/>
                      </a:lnTo>
                      <a:close/>
                    </a:path>
                  </a:pathLst>
                </a:custGeom>
                <a:solidFill>
                  <a:schemeClr val="bg1"/>
                </a:solidFill>
                <a:ln w="5283" cap="flat">
                  <a:noFill/>
                  <a:prstDash val="solid"/>
                  <a:miter/>
                </a:ln>
              </p:spPr>
              <p:txBody>
                <a:bodyPr rtlCol="0" anchor="ctr"/>
                <a:lstStyle/>
                <a:p>
                  <a:endParaRPr lang="en-US" sz="2000" dirty="0">
                    <a:latin typeface="Segoe UI" panose="020B0502040204020203" pitchFamily="34" charset="0"/>
                  </a:endParaRPr>
                </a:p>
              </p:txBody>
            </p:sp>
          </p:grpSp>
        </p:grpSp>
        <p:sp>
          <p:nvSpPr>
            <p:cNvPr id="44" name="TextBox 43">
              <a:extLst>
                <a:ext uri="{FF2B5EF4-FFF2-40B4-BE49-F238E27FC236}">
                  <a16:creationId xmlns:a16="http://schemas.microsoft.com/office/drawing/2014/main" id="{F5286CB7-C484-FDFC-C034-DBF21B333B77}"/>
                </a:ext>
              </a:extLst>
            </p:cNvPr>
            <p:cNvSpPr txBox="1"/>
            <p:nvPr/>
          </p:nvSpPr>
          <p:spPr>
            <a:xfrm>
              <a:off x="1640995" y="1668852"/>
              <a:ext cx="3205915" cy="646331"/>
            </a:xfrm>
            <a:prstGeom prst="rect">
              <a:avLst/>
            </a:prstGeom>
            <a:noFill/>
          </p:spPr>
          <p:txBody>
            <a:bodyPr wrap="square" lIns="0" rIns="0">
              <a:spAutoFit/>
            </a:bodyPr>
            <a:lstStyle/>
            <a:p>
              <a:r>
                <a:rPr lang="en-US" dirty="0">
                  <a:solidFill>
                    <a:schemeClr val="bg1"/>
                  </a:solidFill>
                  <a:latin typeface="Segoe UI" panose="020B0502040204020203" pitchFamily="34" charset="0"/>
                </a:rPr>
                <a:t>Each item on the STAAR exam is </a:t>
              </a:r>
              <a:r>
                <a:rPr lang="en-US" b="1" dirty="0">
                  <a:solidFill>
                    <a:schemeClr val="accent1"/>
                  </a:solidFill>
                  <a:latin typeface="Segoe UI" panose="020B0502040204020203" pitchFamily="34" charset="0"/>
                </a:rPr>
                <a:t>reviewed by Texas teachers. </a:t>
              </a:r>
            </a:p>
          </p:txBody>
        </p:sp>
      </p:grpSp>
      <p:sp>
        <p:nvSpPr>
          <p:cNvPr id="187" name="TextBox 186">
            <a:extLst>
              <a:ext uri="{FF2B5EF4-FFF2-40B4-BE49-F238E27FC236}">
                <a16:creationId xmlns:a16="http://schemas.microsoft.com/office/drawing/2014/main" id="{A6E56F71-C177-BD8E-428F-431850E70E7C}"/>
              </a:ext>
            </a:extLst>
          </p:cNvPr>
          <p:cNvSpPr txBox="1"/>
          <p:nvPr/>
        </p:nvSpPr>
        <p:spPr>
          <a:xfrm>
            <a:off x="6656635" y="3849310"/>
            <a:ext cx="4007223" cy="1200329"/>
          </a:xfrm>
          <a:prstGeom prst="rect">
            <a:avLst/>
          </a:prstGeom>
          <a:noFill/>
        </p:spPr>
        <p:txBody>
          <a:bodyPr wrap="square">
            <a:spAutoFit/>
          </a:bodyPr>
          <a:lstStyle/>
          <a:p>
            <a:pPr algn="ctr"/>
            <a:r>
              <a:rPr lang="en-GB" sz="2400" dirty="0">
                <a:solidFill>
                  <a:schemeClr val="bg1"/>
                </a:solidFill>
                <a:latin typeface="Segoe UI" panose="020B0502040204020203" pitchFamily="34" charset="0"/>
              </a:rPr>
              <a:t>Over </a:t>
            </a:r>
            <a:r>
              <a:rPr lang="en-GB" sz="2400" b="1" dirty="0">
                <a:solidFill>
                  <a:schemeClr val="accent1"/>
                </a:solidFill>
                <a:latin typeface="Segoe UI" panose="020B0502040204020203" pitchFamily="34" charset="0"/>
              </a:rPr>
              <a:t>5,000 teacher hours </a:t>
            </a:r>
            <a:r>
              <a:rPr lang="en-GB" sz="2400" dirty="0">
                <a:solidFill>
                  <a:schemeClr val="bg1"/>
                </a:solidFill>
                <a:latin typeface="Segoe UI" panose="020B0502040204020203" pitchFamily="34" charset="0"/>
              </a:rPr>
              <a:t>went into the STAAR redesign process. </a:t>
            </a:r>
          </a:p>
        </p:txBody>
      </p:sp>
      <p:sp>
        <p:nvSpPr>
          <p:cNvPr id="3" name="TextBox 2">
            <a:extLst>
              <a:ext uri="{FF2B5EF4-FFF2-40B4-BE49-F238E27FC236}">
                <a16:creationId xmlns:a16="http://schemas.microsoft.com/office/drawing/2014/main" id="{0848145E-2675-B9BE-460B-BC77482D9478}"/>
              </a:ext>
            </a:extLst>
          </p:cNvPr>
          <p:cNvSpPr txBox="1"/>
          <p:nvPr/>
        </p:nvSpPr>
        <p:spPr>
          <a:xfrm>
            <a:off x="6447106" y="1884667"/>
            <a:ext cx="4378116" cy="1200329"/>
          </a:xfrm>
          <a:prstGeom prst="rect">
            <a:avLst/>
          </a:prstGeom>
          <a:noFill/>
        </p:spPr>
        <p:txBody>
          <a:bodyPr wrap="square">
            <a:spAutoFit/>
          </a:bodyPr>
          <a:lstStyle/>
          <a:p>
            <a:pPr algn="ctr"/>
            <a:r>
              <a:rPr lang="en-GB" sz="2400" dirty="0">
                <a:solidFill>
                  <a:schemeClr val="bg1"/>
                </a:solidFill>
                <a:latin typeface="Segoe UI" panose="020B0502040204020203" pitchFamily="34" charset="0"/>
              </a:rPr>
              <a:t>Over </a:t>
            </a:r>
            <a:r>
              <a:rPr lang="en-GB" sz="2400" b="1" dirty="0">
                <a:solidFill>
                  <a:schemeClr val="accent1"/>
                </a:solidFill>
                <a:latin typeface="Segoe UI" panose="020B0502040204020203" pitchFamily="34" charset="0"/>
              </a:rPr>
              <a:t>3,000 teacher hours </a:t>
            </a:r>
            <a:r>
              <a:rPr lang="en-GB" sz="2400" dirty="0">
                <a:solidFill>
                  <a:schemeClr val="bg1"/>
                </a:solidFill>
                <a:latin typeface="Segoe UI" panose="020B0502040204020203" pitchFamily="34" charset="0"/>
              </a:rPr>
              <a:t>are spent reviewing the STAAR every year. </a:t>
            </a:r>
          </a:p>
        </p:txBody>
      </p:sp>
      <p:cxnSp>
        <p:nvCxnSpPr>
          <p:cNvPr id="7" name="Straight Connector 6">
            <a:extLst>
              <a:ext uri="{FF2B5EF4-FFF2-40B4-BE49-F238E27FC236}">
                <a16:creationId xmlns:a16="http://schemas.microsoft.com/office/drawing/2014/main" id="{CF79E7C8-1AF8-65F2-FA15-81F4E543DD09}"/>
              </a:ext>
            </a:extLst>
          </p:cNvPr>
          <p:cNvCxnSpPr>
            <a:cxnSpLocks/>
          </p:cNvCxnSpPr>
          <p:nvPr/>
        </p:nvCxnSpPr>
        <p:spPr>
          <a:xfrm>
            <a:off x="6950673" y="3472927"/>
            <a:ext cx="346013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68789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1F3E8-BAA7-02B6-E585-B7BFF6B4FF67}"/>
              </a:ext>
            </a:extLst>
          </p:cNvPr>
          <p:cNvSpPr>
            <a:spLocks noGrp="1"/>
          </p:cNvSpPr>
          <p:nvPr>
            <p:ph type="title"/>
          </p:nvPr>
        </p:nvSpPr>
        <p:spPr>
          <a:xfrm>
            <a:off x="752601" y="3720634"/>
            <a:ext cx="4864016" cy="903288"/>
          </a:xfrm>
        </p:spPr>
        <p:txBody>
          <a:bodyPr>
            <a:noAutofit/>
          </a:bodyPr>
          <a:lstStyle/>
          <a:p>
            <a:r>
              <a:rPr lang="en-US" sz="1400" i="1" dirty="0">
                <a:solidFill>
                  <a:srgbClr val="082567"/>
                </a:solidFill>
                <a:latin typeface="Segoe UI" panose="020B0502040204020203" pitchFamily="34" charset="0"/>
                <a:cs typeface="Segoe UI" panose="020B0502040204020203" pitchFamily="34" charset="0"/>
              </a:rPr>
              <a:t>8</a:t>
            </a:r>
            <a:r>
              <a:rPr lang="en-US" sz="1400" i="1" baseline="30000" dirty="0">
                <a:solidFill>
                  <a:srgbClr val="082567"/>
                </a:solidFill>
                <a:latin typeface="Segoe UI" panose="020B0502040204020203" pitchFamily="34" charset="0"/>
                <a:cs typeface="Segoe UI" panose="020B0502040204020203" pitchFamily="34" charset="0"/>
              </a:rPr>
              <a:t>th</a:t>
            </a:r>
            <a:r>
              <a:rPr lang="en-US" sz="1400" i="1" dirty="0">
                <a:solidFill>
                  <a:srgbClr val="082567"/>
                </a:solidFill>
                <a:latin typeface="Segoe UI" panose="020B0502040204020203" pitchFamily="34" charset="0"/>
                <a:cs typeface="Segoe UI" panose="020B0502040204020203" pitchFamily="34" charset="0"/>
              </a:rPr>
              <a:t> Grade Social Studies Texas Essential Knowledge and Skills Sample TEKS </a:t>
            </a:r>
            <a:br>
              <a:rPr lang="en-US" sz="1200" dirty="0">
                <a:solidFill>
                  <a:schemeClr val="tx1"/>
                </a:solidFill>
                <a:latin typeface="Segoe UI" panose="020B0502040204020203" pitchFamily="34" charset="0"/>
                <a:cs typeface="Segoe UI" panose="020B0502040204020203" pitchFamily="34" charset="0"/>
              </a:rPr>
            </a:br>
            <a:br>
              <a:rPr lang="en-US" sz="1200" dirty="0">
                <a:solidFill>
                  <a:schemeClr val="tx1"/>
                </a:solidFill>
                <a:latin typeface="Segoe UI" panose="020B0502040204020203" pitchFamily="34" charset="0"/>
                <a:cs typeface="Segoe UI" panose="020B0502040204020203" pitchFamily="34" charset="0"/>
              </a:rPr>
            </a:br>
            <a:br>
              <a:rPr lang="en-US" sz="1200" dirty="0">
                <a:solidFill>
                  <a:schemeClr val="tx1"/>
                </a:solidFill>
                <a:latin typeface="Segoe UI" panose="020B0502040204020203" pitchFamily="34" charset="0"/>
                <a:cs typeface="Segoe UI" panose="020B0502040204020203" pitchFamily="34" charset="0"/>
              </a:rPr>
            </a:br>
            <a:br>
              <a:rPr lang="en-US" sz="1200" dirty="0">
                <a:solidFill>
                  <a:schemeClr val="tx1"/>
                </a:solidFill>
                <a:latin typeface="Segoe UI" panose="020B0502040204020203" pitchFamily="34" charset="0"/>
                <a:cs typeface="Segoe UI" panose="020B0502040204020203" pitchFamily="34" charset="0"/>
              </a:rPr>
            </a:br>
            <a:r>
              <a:rPr lang="en-US" sz="1200" dirty="0">
                <a:solidFill>
                  <a:schemeClr val="tx1"/>
                </a:solidFill>
                <a:latin typeface="Segoe UI" panose="020B0502040204020203" pitchFamily="34" charset="0"/>
                <a:cs typeface="Segoe UI" panose="020B0502040204020203" pitchFamily="34" charset="0"/>
              </a:rPr>
              <a:t>(8.1) History. </a:t>
            </a:r>
            <a:r>
              <a:rPr lang="en-US" sz="1200" b="0" dirty="0">
                <a:solidFill>
                  <a:schemeClr val="tx1"/>
                </a:solidFill>
                <a:latin typeface="Segoe UI" panose="020B0502040204020203" pitchFamily="34" charset="0"/>
                <a:cs typeface="Segoe UI" panose="020B0502040204020203" pitchFamily="34" charset="0"/>
              </a:rPr>
              <a:t>The student understands traditional historical points of reference in U.S. history through 1877. The student is expected to  </a:t>
            </a:r>
            <a:br>
              <a:rPr lang="en-US" sz="1200" b="0" dirty="0">
                <a:solidFill>
                  <a:schemeClr val="tx1"/>
                </a:solidFill>
                <a:latin typeface="Segoe UI" panose="020B0502040204020203" pitchFamily="34" charset="0"/>
                <a:cs typeface="Segoe UI" panose="020B0502040204020203" pitchFamily="34" charset="0"/>
              </a:rPr>
            </a:br>
            <a:br>
              <a:rPr lang="en-US" sz="1200" b="0" dirty="0">
                <a:solidFill>
                  <a:schemeClr val="tx1"/>
                </a:solidFill>
                <a:latin typeface="Segoe UI" panose="020B0502040204020203" pitchFamily="34" charset="0"/>
                <a:cs typeface="Segoe UI" panose="020B0502040204020203" pitchFamily="34" charset="0"/>
              </a:rPr>
            </a:br>
            <a:r>
              <a:rPr lang="en-US" sz="1200" b="0" dirty="0">
                <a:solidFill>
                  <a:schemeClr val="tx1"/>
                </a:solidFill>
                <a:latin typeface="Segoe UI" panose="020B0502040204020203" pitchFamily="34" charset="0"/>
                <a:cs typeface="Segoe UI" panose="020B0502040204020203" pitchFamily="34" charset="0"/>
              </a:rPr>
              <a:t>(A) identify the major eras and events in U.S. history through 1877, including colonization, revolution, drafting of the Declaration of Independence, creation and ratification of the Constitution, religious revivals such as the Second Great Awakening, early republic, the Age of Jackson, westward expansion, reform movements, sectionalism, Civil War, and Reconstruction, and describe their causes and effects; Readiness Standard </a:t>
            </a:r>
            <a:br>
              <a:rPr lang="en-US" sz="1200" b="0" dirty="0">
                <a:solidFill>
                  <a:schemeClr val="tx1"/>
                </a:solidFill>
                <a:latin typeface="Segoe UI" panose="020B0502040204020203" pitchFamily="34" charset="0"/>
                <a:cs typeface="Segoe UI" panose="020B0502040204020203" pitchFamily="34" charset="0"/>
              </a:rPr>
            </a:br>
            <a:br>
              <a:rPr lang="en-US" sz="1200" b="0" dirty="0">
                <a:solidFill>
                  <a:schemeClr val="tx1"/>
                </a:solidFill>
                <a:latin typeface="Segoe UI" panose="020B0502040204020203" pitchFamily="34" charset="0"/>
                <a:cs typeface="Segoe UI" panose="020B0502040204020203" pitchFamily="34" charset="0"/>
              </a:rPr>
            </a:br>
            <a:endParaRPr lang="en-US" sz="1200" b="0" dirty="0">
              <a:solidFill>
                <a:schemeClr val="tx1"/>
              </a:solidFill>
              <a:latin typeface="Segoe UI" panose="020B0502040204020203" pitchFamily="34" charset="0"/>
              <a:cs typeface="Segoe UI" panose="020B0502040204020203" pitchFamily="34" charset="0"/>
            </a:endParaRPr>
          </a:p>
        </p:txBody>
      </p:sp>
      <p:sp>
        <p:nvSpPr>
          <p:cNvPr id="19" name="Title 6">
            <a:extLst>
              <a:ext uri="{FF2B5EF4-FFF2-40B4-BE49-F238E27FC236}">
                <a16:creationId xmlns:a16="http://schemas.microsoft.com/office/drawing/2014/main" id="{82BF680A-3DB4-D4C5-2923-9451611C0AA3}"/>
              </a:ext>
            </a:extLst>
          </p:cNvPr>
          <p:cNvSpPr txBox="1">
            <a:spLocks/>
          </p:cNvSpPr>
          <p:nvPr/>
        </p:nvSpPr>
        <p:spPr>
          <a:xfrm>
            <a:off x="583045" y="96105"/>
            <a:ext cx="9517688" cy="749670"/>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2800" b="1" kern="1200">
                <a:solidFill>
                  <a:schemeClr val="accent2"/>
                </a:solidFill>
                <a:latin typeface="+mj-lt"/>
                <a:ea typeface="+mj-ea"/>
                <a:cs typeface="+mj-cs"/>
              </a:defRPr>
            </a:lvl1pPr>
          </a:lstStyle>
          <a:p>
            <a:pPr>
              <a:lnSpc>
                <a:spcPct val="100000"/>
              </a:lnSpc>
            </a:pPr>
            <a:r>
              <a:rPr lang="en-US" sz="2400" dirty="0">
                <a:latin typeface="Segoe UI" panose="020B0502040204020203" pitchFamily="34" charset="0"/>
                <a:cs typeface="Segoe UI" panose="020B0502040204020203" pitchFamily="34" charset="0"/>
              </a:rPr>
              <a:t>How Do Students Show Mastery of the TEKS on the STAAR Test? </a:t>
            </a:r>
          </a:p>
        </p:txBody>
      </p:sp>
      <p:sp>
        <p:nvSpPr>
          <p:cNvPr id="35" name="TextBox 34">
            <a:extLst>
              <a:ext uri="{FF2B5EF4-FFF2-40B4-BE49-F238E27FC236}">
                <a16:creationId xmlns:a16="http://schemas.microsoft.com/office/drawing/2014/main" id="{C5E25829-D055-9217-856E-39B1686D5BC3}"/>
              </a:ext>
            </a:extLst>
          </p:cNvPr>
          <p:cNvSpPr txBox="1"/>
          <p:nvPr/>
        </p:nvSpPr>
        <p:spPr>
          <a:xfrm>
            <a:off x="510734" y="845775"/>
            <a:ext cx="10402860" cy="338554"/>
          </a:xfrm>
          <a:prstGeom prst="rect">
            <a:avLst/>
          </a:prstGeom>
          <a:noFill/>
        </p:spPr>
        <p:txBody>
          <a:bodyPr wrap="square">
            <a:spAutoFit/>
          </a:bodyPr>
          <a:lstStyle/>
          <a:p>
            <a:pPr>
              <a:lnSpc>
                <a:spcPct val="100000"/>
              </a:lnSpc>
            </a:pPr>
            <a:r>
              <a:rPr lang="en-US" sz="1600" b="0" i="1" dirty="0">
                <a:solidFill>
                  <a:schemeClr val="bg1">
                    <a:lumMod val="65000"/>
                  </a:schemeClr>
                </a:solidFill>
                <a:latin typeface="Segoe UI" panose="020B0502040204020203" pitchFamily="34" charset="0"/>
                <a:cs typeface="Segoe UI" panose="020B0502040204020203" pitchFamily="34" charset="0"/>
              </a:rPr>
              <a:t>Below </a:t>
            </a:r>
            <a:r>
              <a:rPr lang="en-US" sz="1600" i="1" dirty="0">
                <a:solidFill>
                  <a:schemeClr val="bg1">
                    <a:lumMod val="65000"/>
                  </a:schemeClr>
                </a:solidFill>
                <a:latin typeface="Segoe UI" panose="020B0502040204020203" pitchFamily="34" charset="0"/>
                <a:cs typeface="Segoe UI" panose="020B0502040204020203" pitchFamily="34" charset="0"/>
              </a:rPr>
              <a:t>are</a:t>
            </a:r>
            <a:r>
              <a:rPr lang="en-US" sz="1600" b="0" i="1" dirty="0">
                <a:solidFill>
                  <a:schemeClr val="bg1">
                    <a:lumMod val="65000"/>
                  </a:schemeClr>
                </a:solidFill>
                <a:latin typeface="Segoe UI" panose="020B0502040204020203" pitchFamily="34" charset="0"/>
                <a:cs typeface="Segoe UI" panose="020B0502040204020203" pitchFamily="34" charset="0"/>
              </a:rPr>
              <a:t> sample standards and </a:t>
            </a:r>
            <a:r>
              <a:rPr lang="en-US" sz="1600" i="1" dirty="0">
                <a:solidFill>
                  <a:schemeClr val="bg1">
                    <a:lumMod val="65000"/>
                  </a:schemeClr>
                </a:solidFill>
                <a:latin typeface="Segoe UI" panose="020B0502040204020203" pitchFamily="34" charset="0"/>
                <a:cs typeface="Segoe UI" panose="020B0502040204020203" pitchFamily="34" charset="0"/>
              </a:rPr>
              <a:t>their</a:t>
            </a:r>
            <a:r>
              <a:rPr lang="en-US" sz="1600" b="0" i="1" dirty="0">
                <a:solidFill>
                  <a:schemeClr val="bg1">
                    <a:lumMod val="65000"/>
                  </a:schemeClr>
                </a:solidFill>
                <a:latin typeface="Segoe UI" panose="020B0502040204020203" pitchFamily="34" charset="0"/>
                <a:cs typeface="Segoe UI" panose="020B0502040204020203" pitchFamily="34" charset="0"/>
              </a:rPr>
              <a:t> related question on the 2021 8</a:t>
            </a:r>
            <a:r>
              <a:rPr lang="en-US" sz="1600" b="0" i="1" baseline="30000" dirty="0">
                <a:solidFill>
                  <a:schemeClr val="bg1">
                    <a:lumMod val="65000"/>
                  </a:schemeClr>
                </a:solidFill>
                <a:latin typeface="Segoe UI" panose="020B0502040204020203" pitchFamily="34" charset="0"/>
                <a:cs typeface="Segoe UI" panose="020B0502040204020203" pitchFamily="34" charset="0"/>
              </a:rPr>
              <a:t>th</a:t>
            </a:r>
            <a:r>
              <a:rPr lang="en-US" sz="1600" b="0" i="1" dirty="0">
                <a:solidFill>
                  <a:schemeClr val="bg1">
                    <a:lumMod val="65000"/>
                  </a:schemeClr>
                </a:solidFill>
                <a:latin typeface="Segoe UI" panose="020B0502040204020203" pitchFamily="34" charset="0"/>
                <a:cs typeface="Segoe UI" panose="020B0502040204020203" pitchFamily="34" charset="0"/>
              </a:rPr>
              <a:t> Grade Social Studies Exam. </a:t>
            </a:r>
          </a:p>
        </p:txBody>
      </p:sp>
      <p:sp>
        <p:nvSpPr>
          <p:cNvPr id="39" name="TextBox 38">
            <a:extLst>
              <a:ext uri="{FF2B5EF4-FFF2-40B4-BE49-F238E27FC236}">
                <a16:creationId xmlns:a16="http://schemas.microsoft.com/office/drawing/2014/main" id="{1C53BCEF-282F-722A-1840-CEFCA0D8822B}"/>
              </a:ext>
            </a:extLst>
          </p:cNvPr>
          <p:cNvSpPr txBox="1"/>
          <p:nvPr/>
        </p:nvSpPr>
        <p:spPr>
          <a:xfrm>
            <a:off x="6165622" y="1687738"/>
            <a:ext cx="5514649" cy="307777"/>
          </a:xfrm>
          <a:prstGeom prst="rect">
            <a:avLst/>
          </a:prstGeom>
          <a:noFill/>
        </p:spPr>
        <p:txBody>
          <a:bodyPr wrap="square">
            <a:spAutoFit/>
          </a:bodyPr>
          <a:lstStyle/>
          <a:p>
            <a:r>
              <a:rPr lang="en-US" sz="1400" b="1" i="1" dirty="0">
                <a:solidFill>
                  <a:srgbClr val="082567"/>
                </a:solidFill>
                <a:latin typeface="Segoe UI" panose="020B0502040204020203" pitchFamily="34" charset="0"/>
                <a:cs typeface="Segoe UI" panose="020B0502040204020203" pitchFamily="34" charset="0"/>
              </a:rPr>
              <a:t>2021 STAAR 8</a:t>
            </a:r>
            <a:r>
              <a:rPr lang="en-US" sz="1400" b="1" i="1" baseline="30000" dirty="0">
                <a:solidFill>
                  <a:srgbClr val="082567"/>
                </a:solidFill>
                <a:latin typeface="Segoe UI" panose="020B0502040204020203" pitchFamily="34" charset="0"/>
                <a:cs typeface="Segoe UI" panose="020B0502040204020203" pitchFamily="34" charset="0"/>
              </a:rPr>
              <a:t>th</a:t>
            </a:r>
            <a:r>
              <a:rPr lang="en-US" sz="1400" b="1" i="1" dirty="0">
                <a:solidFill>
                  <a:srgbClr val="082567"/>
                </a:solidFill>
                <a:latin typeface="Segoe UI" panose="020B0502040204020203" pitchFamily="34" charset="0"/>
                <a:cs typeface="Segoe UI" panose="020B0502040204020203" pitchFamily="34" charset="0"/>
              </a:rPr>
              <a:t> Grade Social Studies Question #6 </a:t>
            </a:r>
            <a:endParaRPr lang="en-US" sz="1400" b="1" dirty="0"/>
          </a:p>
        </p:txBody>
      </p:sp>
      <p:pic>
        <p:nvPicPr>
          <p:cNvPr id="7" name="Picture 6" descr="A picture containing graphical user interface&#10;&#10;Description automatically generated">
            <a:extLst>
              <a:ext uri="{FF2B5EF4-FFF2-40B4-BE49-F238E27FC236}">
                <a16:creationId xmlns:a16="http://schemas.microsoft.com/office/drawing/2014/main" id="{95A89945-B8A8-A1A9-27C3-70E2C9B58CB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623680" y="1995515"/>
            <a:ext cx="4598532" cy="4078226"/>
          </a:xfrm>
          <a:prstGeom prst="rect">
            <a:avLst/>
          </a:prstGeom>
        </p:spPr>
      </p:pic>
      <p:sp>
        <p:nvSpPr>
          <p:cNvPr id="8" name="Google Shape;667;p56">
            <a:extLst>
              <a:ext uri="{FF2B5EF4-FFF2-40B4-BE49-F238E27FC236}">
                <a16:creationId xmlns:a16="http://schemas.microsoft.com/office/drawing/2014/main" id="{037247A7-EB28-1349-FB10-BD455D76673D}"/>
              </a:ext>
            </a:extLst>
          </p:cNvPr>
          <p:cNvSpPr/>
          <p:nvPr/>
        </p:nvSpPr>
        <p:spPr>
          <a:xfrm>
            <a:off x="1530215" y="6483818"/>
            <a:ext cx="2743201" cy="21540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panose="020B0502040204020203" pitchFamily="34" charset="0"/>
                <a:ea typeface="Calibri"/>
                <a:cs typeface="Segoe UI" panose="020B0502040204020203" pitchFamily="34" charset="0"/>
                <a:sym typeface="Calibri"/>
              </a:rPr>
              <a:t>Source: Texas Education Agency</a:t>
            </a:r>
            <a:endParaRPr kumimoji="0"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169397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C7FC1DCA-01AE-C04E-9969-C6CD45B4A856}"/>
              </a:ext>
            </a:extLst>
          </p:cNvPr>
          <p:cNvGraphicFramePr>
            <a:graphicFrameLocks/>
          </p:cNvGraphicFramePr>
          <p:nvPr>
            <p:extLst>
              <p:ext uri="{D42A27DB-BD31-4B8C-83A1-F6EECF244321}">
                <p14:modId xmlns:p14="http://schemas.microsoft.com/office/powerpoint/2010/main" val="1078169088"/>
              </p:ext>
            </p:extLst>
          </p:nvPr>
        </p:nvGraphicFramePr>
        <p:xfrm>
          <a:off x="812800" y="1003416"/>
          <a:ext cx="11379200" cy="5372099"/>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1">
            <a:extLst>
              <a:ext uri="{FF2B5EF4-FFF2-40B4-BE49-F238E27FC236}">
                <a16:creationId xmlns:a16="http://schemas.microsoft.com/office/drawing/2014/main" id="{B7EC40DE-5971-C92D-14B4-26D06C2FD139}"/>
              </a:ext>
            </a:extLst>
          </p:cNvPr>
          <p:cNvSpPr txBox="1"/>
          <p:nvPr/>
        </p:nvSpPr>
        <p:spPr>
          <a:xfrm rot="16200000">
            <a:off x="-1245458" y="3783181"/>
            <a:ext cx="3796497" cy="23790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Percent of 4</a:t>
            </a:r>
            <a:r>
              <a:rPr kumimoji="0" lang="en-US" sz="1100" b="0" i="0" u="none" strike="noStrike" kern="1200" cap="none" spc="0" normalizeH="0" baseline="3000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th</a:t>
            </a:r>
            <a:r>
              <a:rPr kumimoji="0" lang="en-US" sz="1100" b="0"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Segoe UI" panose="020B0502040204020203" pitchFamily="34" charset="0"/>
              </a:rPr>
              <a:t> Graders Reading at Basic Level </a:t>
            </a:r>
          </a:p>
        </p:txBody>
      </p:sp>
      <p:sp>
        <p:nvSpPr>
          <p:cNvPr id="4" name="Title 1">
            <a:extLst>
              <a:ext uri="{FF2B5EF4-FFF2-40B4-BE49-F238E27FC236}">
                <a16:creationId xmlns:a16="http://schemas.microsoft.com/office/drawing/2014/main" id="{3EB66C33-CAE2-8DEC-E779-A6AD63B4E78D}"/>
              </a:ext>
            </a:extLst>
          </p:cNvPr>
          <p:cNvSpPr txBox="1">
            <a:spLocks/>
          </p:cNvSpPr>
          <p:nvPr/>
        </p:nvSpPr>
        <p:spPr>
          <a:xfrm>
            <a:off x="515073" y="321120"/>
            <a:ext cx="11161854" cy="94626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200" b="1" i="0" u="none" strike="noStrike" kern="1200" cap="none" spc="0" normalizeH="0" baseline="0" noProof="0" dirty="0">
                <a:ln>
                  <a:noFill/>
                </a:ln>
                <a:solidFill>
                  <a:srgbClr val="082567"/>
                </a:solidFill>
                <a:effectLst/>
                <a:uLnTx/>
                <a:uFillTx/>
                <a:latin typeface="Segoe UI" panose="020B0502040204020203" pitchFamily="34" charset="0"/>
                <a:ea typeface="+mj-ea"/>
                <a:cs typeface="Segoe UI" panose="020B0502040204020203" pitchFamily="34" charset="0"/>
              </a:rPr>
              <a:t>How Does Texas Perform On The NAEP Relative To Our Peer States? </a:t>
            </a:r>
          </a:p>
        </p:txBody>
      </p:sp>
      <p:sp>
        <p:nvSpPr>
          <p:cNvPr id="5" name="Google Shape;648;p36">
            <a:extLst>
              <a:ext uri="{FF2B5EF4-FFF2-40B4-BE49-F238E27FC236}">
                <a16:creationId xmlns:a16="http://schemas.microsoft.com/office/drawing/2014/main" id="{9B9F84F7-88CD-AF7B-1CD9-44CB68776C70}"/>
              </a:ext>
            </a:extLst>
          </p:cNvPr>
          <p:cNvSpPr txBox="1"/>
          <p:nvPr/>
        </p:nvSpPr>
        <p:spPr>
          <a:xfrm>
            <a:off x="1588420" y="6476181"/>
            <a:ext cx="2956377" cy="23079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dirty="0">
                <a:solidFill>
                  <a:schemeClr val="bg1"/>
                </a:solidFill>
                <a:latin typeface="Segoe UI" panose="020B0502040204020203" pitchFamily="34" charset="0"/>
                <a:ea typeface="Segoe UI"/>
                <a:cs typeface="Segoe UI" panose="020B0502040204020203" pitchFamily="34" charset="0"/>
                <a:sym typeface="Segoe UI"/>
              </a:rPr>
              <a:t>Source: NAEP</a:t>
            </a:r>
          </a:p>
        </p:txBody>
      </p:sp>
    </p:spTree>
    <p:extLst>
      <p:ext uri="{BB962C8B-B14F-4D97-AF65-F5344CB8AC3E}">
        <p14:creationId xmlns:p14="http://schemas.microsoft.com/office/powerpoint/2010/main" val="18814039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BCD663E-1350-586D-A69B-B1CC82B64146}"/>
              </a:ext>
            </a:extLst>
          </p:cNvPr>
          <p:cNvSpPr txBox="1">
            <a:spLocks/>
          </p:cNvSpPr>
          <p:nvPr/>
        </p:nvSpPr>
        <p:spPr>
          <a:xfrm>
            <a:off x="474638" y="328377"/>
            <a:ext cx="11095061" cy="104463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3200" b="1" i="0" u="none" strike="noStrike" kern="1200" cap="none" spc="0" normalizeH="0" baseline="0" noProof="0" dirty="0">
                <a:ln>
                  <a:noFill/>
                </a:ln>
                <a:solidFill>
                  <a:srgbClr val="082567"/>
                </a:solidFill>
                <a:effectLst/>
                <a:uLnTx/>
                <a:uFillTx/>
                <a:latin typeface="Segoe UI" panose="020B0502040204020203" pitchFamily="34" charset="0"/>
                <a:ea typeface="+mj-ea"/>
                <a:cs typeface="Segoe UI" panose="020B0502040204020203" pitchFamily="34" charset="0"/>
              </a:rPr>
              <a:t>Texas Has Improved Its NAEP Scores, But At </a:t>
            </a:r>
            <a:r>
              <a:rPr lang="en-US" sz="3200" b="1" dirty="0">
                <a:solidFill>
                  <a:srgbClr val="082567"/>
                </a:solidFill>
                <a:latin typeface="Segoe UI" panose="020B0502040204020203" pitchFamily="34" charset="0"/>
                <a:cs typeface="Segoe UI" panose="020B0502040204020203" pitchFamily="34" charset="0"/>
              </a:rPr>
              <a:t>A</a:t>
            </a:r>
            <a:r>
              <a:rPr kumimoji="0" lang="en-US" sz="3200" b="1" i="0" u="none" strike="noStrike" kern="1200" cap="none" spc="0" normalizeH="0" baseline="0" noProof="0" dirty="0">
                <a:ln>
                  <a:noFill/>
                </a:ln>
                <a:solidFill>
                  <a:srgbClr val="082567"/>
                </a:solidFill>
                <a:effectLst/>
                <a:uLnTx/>
                <a:uFillTx/>
                <a:latin typeface="Segoe UI" panose="020B0502040204020203" pitchFamily="34" charset="0"/>
                <a:ea typeface="+mj-ea"/>
                <a:cs typeface="Segoe UI" panose="020B0502040204020203" pitchFamily="34" charset="0"/>
              </a:rPr>
              <a:t> Slower Rate Than Others. </a:t>
            </a:r>
          </a:p>
        </p:txBody>
      </p:sp>
      <p:graphicFrame>
        <p:nvGraphicFramePr>
          <p:cNvPr id="5" name="Chart 4">
            <a:extLst>
              <a:ext uri="{FF2B5EF4-FFF2-40B4-BE49-F238E27FC236}">
                <a16:creationId xmlns:a16="http://schemas.microsoft.com/office/drawing/2014/main" id="{52A570A1-0C33-D4BB-808B-6D7941EE3D09}"/>
              </a:ext>
            </a:extLst>
          </p:cNvPr>
          <p:cNvGraphicFramePr>
            <a:graphicFrameLocks/>
          </p:cNvGraphicFramePr>
          <p:nvPr>
            <p:extLst>
              <p:ext uri="{D42A27DB-BD31-4B8C-83A1-F6EECF244321}">
                <p14:modId xmlns:p14="http://schemas.microsoft.com/office/powerpoint/2010/main" val="1706054218"/>
              </p:ext>
            </p:extLst>
          </p:nvPr>
        </p:nvGraphicFramePr>
        <p:xfrm>
          <a:off x="571500" y="1805668"/>
          <a:ext cx="11048999" cy="4233636"/>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2981CC8E-02AC-B8CC-F8BD-D7E32D0257D8}"/>
              </a:ext>
            </a:extLst>
          </p:cNvPr>
          <p:cNvSpPr txBox="1"/>
          <p:nvPr/>
        </p:nvSpPr>
        <p:spPr>
          <a:xfrm>
            <a:off x="1706562" y="2289175"/>
            <a:ext cx="447675" cy="153888"/>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Segoe UI" panose="020B0502040204020203" pitchFamily="34" charset="0"/>
                <a:ea typeface="+mn-ea"/>
                <a:cs typeface="+mn-cs"/>
              </a:rPr>
              <a:t>-2.51%</a:t>
            </a:r>
          </a:p>
        </p:txBody>
      </p:sp>
      <p:sp>
        <p:nvSpPr>
          <p:cNvPr id="9" name="TextBox 8">
            <a:extLst>
              <a:ext uri="{FF2B5EF4-FFF2-40B4-BE49-F238E27FC236}">
                <a16:creationId xmlns:a16="http://schemas.microsoft.com/office/drawing/2014/main" id="{724AEA0E-34A0-97AE-3DA5-D5DFBF7B5C06}"/>
              </a:ext>
            </a:extLst>
          </p:cNvPr>
          <p:cNvSpPr txBox="1"/>
          <p:nvPr/>
        </p:nvSpPr>
        <p:spPr>
          <a:xfrm>
            <a:off x="2326481" y="2616200"/>
            <a:ext cx="447675" cy="153888"/>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04040"/>
                </a:solidFill>
                <a:effectLst/>
                <a:uLnTx/>
                <a:uFillTx/>
                <a:latin typeface="Segoe UI" panose="020B0502040204020203" pitchFamily="34" charset="0"/>
                <a:ea typeface="+mn-ea"/>
                <a:cs typeface="+mn-cs"/>
              </a:rPr>
              <a:t>-0.32%</a:t>
            </a:r>
          </a:p>
        </p:txBody>
      </p:sp>
      <p:sp>
        <p:nvSpPr>
          <p:cNvPr id="3" name="Google Shape;648;p36">
            <a:extLst>
              <a:ext uri="{FF2B5EF4-FFF2-40B4-BE49-F238E27FC236}">
                <a16:creationId xmlns:a16="http://schemas.microsoft.com/office/drawing/2014/main" id="{9B2EDDD2-9731-9552-897A-13F0A8F92044}"/>
              </a:ext>
            </a:extLst>
          </p:cNvPr>
          <p:cNvSpPr txBox="1"/>
          <p:nvPr/>
        </p:nvSpPr>
        <p:spPr>
          <a:xfrm>
            <a:off x="1588420" y="6476181"/>
            <a:ext cx="7259745" cy="23079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dirty="0">
                <a:solidFill>
                  <a:schemeClr val="bg1"/>
                </a:solidFill>
                <a:latin typeface="Segoe UI" panose="020B0502040204020203" pitchFamily="34" charset="0"/>
                <a:ea typeface="Segoe UI"/>
                <a:cs typeface="Segoe UI" panose="020B0502040204020203" pitchFamily="34" charset="0"/>
                <a:sym typeface="Segoe UI"/>
              </a:rPr>
              <a:t>Source: NAEP. % change in scores from 2003 (first year all peer states took the NAEP) to 2019. </a:t>
            </a:r>
          </a:p>
        </p:txBody>
      </p:sp>
    </p:spTree>
    <p:extLst>
      <p:ext uri="{BB962C8B-B14F-4D97-AF65-F5344CB8AC3E}">
        <p14:creationId xmlns:p14="http://schemas.microsoft.com/office/powerpoint/2010/main" val="219511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8CE64B-1A88-DC24-31A9-939A893C5ADA}"/>
              </a:ext>
            </a:extLst>
          </p:cNvPr>
          <p:cNvSpPr txBox="1">
            <a:spLocks/>
          </p:cNvSpPr>
          <p:nvPr/>
        </p:nvSpPr>
        <p:spPr>
          <a:xfrm>
            <a:off x="729373" y="890301"/>
            <a:ext cx="4628444" cy="3226142"/>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spcBef>
                <a:spcPts val="600"/>
              </a:spcBef>
              <a:spcAft>
                <a:spcPts val="600"/>
              </a:spcAft>
              <a:defRPr/>
            </a:pPr>
            <a:r>
              <a:rPr lang="en-US" sz="2800" b="1" dirty="0">
                <a:solidFill>
                  <a:schemeClr val="bg1"/>
                </a:solidFill>
                <a:latin typeface="Segoe UI" panose="020B0502040204020203" pitchFamily="34" charset="0"/>
                <a:cs typeface="Segoe UI" panose="020B0502040204020203" pitchFamily="34" charset="0"/>
              </a:rPr>
              <a:t>In 2022, there were </a:t>
            </a:r>
            <a:r>
              <a:rPr lang="en-US" sz="2800" b="1" dirty="0">
                <a:solidFill>
                  <a:srgbClr val="F26851"/>
                </a:solidFill>
                <a:latin typeface="Segoe UI" panose="020B0502040204020203" pitchFamily="34" charset="0"/>
                <a:cs typeface="Segoe UI" panose="020B0502040204020203" pitchFamily="34" charset="0"/>
              </a:rPr>
              <a:t>1.5 million students in Texas </a:t>
            </a:r>
            <a:r>
              <a:rPr lang="en-US" sz="2800" b="1" dirty="0">
                <a:solidFill>
                  <a:schemeClr val="bg1"/>
                </a:solidFill>
                <a:latin typeface="Segoe UI" panose="020B0502040204020203" pitchFamily="34" charset="0"/>
                <a:cs typeface="Segoe UI" panose="020B0502040204020203" pitchFamily="34" charset="0"/>
              </a:rPr>
              <a:t>who could not read on grade level. </a:t>
            </a:r>
          </a:p>
          <a:p>
            <a:pPr algn="l">
              <a:lnSpc>
                <a:spcPct val="100000"/>
              </a:lnSpc>
              <a:spcBef>
                <a:spcPts val="600"/>
              </a:spcBef>
              <a:spcAft>
                <a:spcPts val="600"/>
              </a:spcAft>
              <a:defRPr/>
            </a:pPr>
            <a:r>
              <a:rPr lang="en-US" sz="2800" b="1" dirty="0">
                <a:solidFill>
                  <a:schemeClr val="bg1"/>
                </a:solidFill>
                <a:latin typeface="Segoe UI" panose="020B0502040204020203" pitchFamily="34" charset="0"/>
                <a:cs typeface="Segoe UI" panose="020B0502040204020203" pitchFamily="34" charset="0"/>
              </a:rPr>
              <a:t>This is almost </a:t>
            </a:r>
            <a:r>
              <a:rPr lang="en-US" sz="2800" b="1" dirty="0">
                <a:solidFill>
                  <a:srgbClr val="F26851"/>
                </a:solidFill>
                <a:latin typeface="Segoe UI" panose="020B0502040204020203" pitchFamily="34" charset="0"/>
                <a:cs typeface="Segoe UI" panose="020B0502040204020203" pitchFamily="34" charset="0"/>
              </a:rPr>
              <a:t>3.1% </a:t>
            </a:r>
            <a:r>
              <a:rPr lang="en-US" sz="2800" b="1" dirty="0">
                <a:solidFill>
                  <a:schemeClr val="bg1"/>
                </a:solidFill>
                <a:latin typeface="Segoe UI" panose="020B0502040204020203" pitchFamily="34" charset="0"/>
                <a:cs typeface="Segoe UI" panose="020B0502040204020203" pitchFamily="34" charset="0"/>
              </a:rPr>
              <a:t>of students in the entire country. </a:t>
            </a:r>
          </a:p>
          <a:p>
            <a:pPr algn="l">
              <a:lnSpc>
                <a:spcPct val="100000"/>
              </a:lnSpc>
              <a:spcBef>
                <a:spcPts val="600"/>
              </a:spcBef>
              <a:spcAft>
                <a:spcPts val="600"/>
              </a:spcAft>
              <a:defRPr/>
            </a:pPr>
            <a:r>
              <a:rPr lang="en-US" sz="2800" b="1" dirty="0">
                <a:solidFill>
                  <a:schemeClr val="bg1"/>
                </a:solidFill>
                <a:latin typeface="Segoe UI" panose="020B0502040204020203" pitchFamily="34" charset="0"/>
                <a:cs typeface="Segoe UI" panose="020B0502040204020203" pitchFamily="34" charset="0"/>
              </a:rPr>
              <a:t>This is </a:t>
            </a:r>
            <a:r>
              <a:rPr lang="en-US" sz="2800" b="1" dirty="0">
                <a:solidFill>
                  <a:srgbClr val="F26851"/>
                </a:solidFill>
                <a:latin typeface="Segoe UI" panose="020B0502040204020203" pitchFamily="34" charset="0"/>
                <a:cs typeface="Segoe UI" panose="020B0502040204020203" pitchFamily="34" charset="0"/>
              </a:rPr>
              <a:t>bigger than the populations of 11 states</a:t>
            </a:r>
            <a:r>
              <a:rPr lang="en-US" sz="2800" b="1" dirty="0">
                <a:solidFill>
                  <a:schemeClr val="bg1"/>
                </a:solidFill>
                <a:latin typeface="Segoe UI" panose="020B0502040204020203" pitchFamily="34" charset="0"/>
                <a:cs typeface="Segoe UI" panose="020B0502040204020203" pitchFamily="34" charset="0"/>
              </a:rPr>
              <a:t>. </a:t>
            </a:r>
          </a:p>
        </p:txBody>
      </p:sp>
      <p:grpSp>
        <p:nvGrpSpPr>
          <p:cNvPr id="143" name="Google Shape;1141;p29">
            <a:extLst>
              <a:ext uri="{FF2B5EF4-FFF2-40B4-BE49-F238E27FC236}">
                <a16:creationId xmlns:a16="http://schemas.microsoft.com/office/drawing/2014/main" id="{F944B971-69A2-845C-8FF5-BB394425325C}"/>
              </a:ext>
            </a:extLst>
          </p:cNvPr>
          <p:cNvGrpSpPr/>
          <p:nvPr/>
        </p:nvGrpSpPr>
        <p:grpSpPr>
          <a:xfrm>
            <a:off x="6020510" y="1123896"/>
            <a:ext cx="5523334" cy="3560010"/>
            <a:chOff x="232350" y="552725"/>
            <a:chExt cx="7150525" cy="4608800"/>
          </a:xfrm>
        </p:grpSpPr>
        <p:sp>
          <p:nvSpPr>
            <p:cNvPr id="144" name="Google Shape;1142;p29">
              <a:extLst>
                <a:ext uri="{FF2B5EF4-FFF2-40B4-BE49-F238E27FC236}">
                  <a16:creationId xmlns:a16="http://schemas.microsoft.com/office/drawing/2014/main" id="{DE0FB42C-41DC-FEFF-7E69-934FF6C73690}"/>
                </a:ext>
              </a:extLst>
            </p:cNvPr>
            <p:cNvSpPr/>
            <p:nvPr/>
          </p:nvSpPr>
          <p:spPr>
            <a:xfrm>
              <a:off x="6333825" y="5149150"/>
              <a:ext cx="425" cy="1500"/>
            </a:xfrm>
            <a:custGeom>
              <a:avLst/>
              <a:gdLst/>
              <a:ahLst/>
              <a:cxnLst/>
              <a:rect l="l" t="t" r="r" b="b"/>
              <a:pathLst>
                <a:path w="17" h="60" extrusionOk="0">
                  <a:moveTo>
                    <a:pt x="16" y="1"/>
                  </a:moveTo>
                  <a:cubicBezTo>
                    <a:pt x="15" y="2"/>
                    <a:pt x="14" y="4"/>
                    <a:pt x="13" y="6"/>
                  </a:cubicBezTo>
                  <a:lnTo>
                    <a:pt x="13" y="6"/>
                  </a:lnTo>
                  <a:cubicBezTo>
                    <a:pt x="15" y="5"/>
                    <a:pt x="16" y="3"/>
                    <a:pt x="16" y="1"/>
                  </a:cubicBezTo>
                  <a:close/>
                  <a:moveTo>
                    <a:pt x="13" y="6"/>
                  </a:moveTo>
                  <a:cubicBezTo>
                    <a:pt x="12" y="7"/>
                    <a:pt x="11" y="9"/>
                    <a:pt x="11" y="11"/>
                  </a:cubicBezTo>
                  <a:cubicBezTo>
                    <a:pt x="11" y="12"/>
                    <a:pt x="11" y="12"/>
                    <a:pt x="10" y="13"/>
                  </a:cubicBezTo>
                  <a:lnTo>
                    <a:pt x="10" y="13"/>
                  </a:lnTo>
                  <a:cubicBezTo>
                    <a:pt x="11" y="11"/>
                    <a:pt x="12" y="8"/>
                    <a:pt x="13" y="6"/>
                  </a:cubicBezTo>
                  <a:close/>
                  <a:moveTo>
                    <a:pt x="10" y="13"/>
                  </a:moveTo>
                  <a:lnTo>
                    <a:pt x="10" y="13"/>
                  </a:lnTo>
                  <a:cubicBezTo>
                    <a:pt x="6" y="27"/>
                    <a:pt x="5" y="43"/>
                    <a:pt x="1" y="60"/>
                  </a:cubicBezTo>
                  <a:cubicBezTo>
                    <a:pt x="6" y="44"/>
                    <a:pt x="6" y="29"/>
                    <a:pt x="10" y="13"/>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45" name="Google Shape;1143;p29">
              <a:extLst>
                <a:ext uri="{FF2B5EF4-FFF2-40B4-BE49-F238E27FC236}">
                  <a16:creationId xmlns:a16="http://schemas.microsoft.com/office/drawing/2014/main" id="{9482D690-36FE-7F9C-4134-51FBA4F84552}"/>
                </a:ext>
              </a:extLst>
            </p:cNvPr>
            <p:cNvSpPr/>
            <p:nvPr/>
          </p:nvSpPr>
          <p:spPr>
            <a:xfrm>
              <a:off x="6345125" y="5154125"/>
              <a:ext cx="6300" cy="7400"/>
            </a:xfrm>
            <a:custGeom>
              <a:avLst/>
              <a:gdLst/>
              <a:ahLst/>
              <a:cxnLst/>
              <a:rect l="l" t="t" r="r" b="b"/>
              <a:pathLst>
                <a:path w="252" h="296" extrusionOk="0">
                  <a:moveTo>
                    <a:pt x="43" y="0"/>
                  </a:moveTo>
                  <a:cubicBezTo>
                    <a:pt x="26" y="97"/>
                    <a:pt x="16" y="199"/>
                    <a:pt x="0" y="295"/>
                  </a:cubicBezTo>
                  <a:cubicBezTo>
                    <a:pt x="85" y="258"/>
                    <a:pt x="166" y="221"/>
                    <a:pt x="251" y="183"/>
                  </a:cubicBezTo>
                  <a:cubicBezTo>
                    <a:pt x="182" y="124"/>
                    <a:pt x="112" y="59"/>
                    <a:pt x="43"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46" name="Google Shape;1144;p29">
              <a:extLst>
                <a:ext uri="{FF2B5EF4-FFF2-40B4-BE49-F238E27FC236}">
                  <a16:creationId xmlns:a16="http://schemas.microsoft.com/office/drawing/2014/main" id="{7A0DBD20-D3CF-C2BF-A699-C5F0CB4472D0}"/>
                </a:ext>
              </a:extLst>
            </p:cNvPr>
            <p:cNvSpPr/>
            <p:nvPr/>
          </p:nvSpPr>
          <p:spPr>
            <a:xfrm>
              <a:off x="3057850" y="2490725"/>
              <a:ext cx="1012675" cy="560075"/>
            </a:xfrm>
            <a:custGeom>
              <a:avLst/>
              <a:gdLst/>
              <a:ahLst/>
              <a:cxnLst/>
              <a:rect l="l" t="t" r="r" b="b"/>
              <a:pathLst>
                <a:path w="40507" h="22403" extrusionOk="0">
                  <a:moveTo>
                    <a:pt x="38358" y="3616"/>
                  </a:moveTo>
                  <a:lnTo>
                    <a:pt x="38348" y="3632"/>
                  </a:lnTo>
                  <a:lnTo>
                    <a:pt x="38348" y="3632"/>
                  </a:lnTo>
                  <a:cubicBezTo>
                    <a:pt x="38352" y="3627"/>
                    <a:pt x="38355" y="3622"/>
                    <a:pt x="38358" y="3616"/>
                  </a:cubicBezTo>
                  <a:close/>
                  <a:moveTo>
                    <a:pt x="38348" y="3632"/>
                  </a:moveTo>
                  <a:cubicBezTo>
                    <a:pt x="38347" y="3635"/>
                    <a:pt x="38345" y="3637"/>
                    <a:pt x="38343" y="3640"/>
                  </a:cubicBezTo>
                  <a:lnTo>
                    <a:pt x="38343" y="3640"/>
                  </a:lnTo>
                  <a:cubicBezTo>
                    <a:pt x="38343" y="3641"/>
                    <a:pt x="38342" y="3642"/>
                    <a:pt x="38342" y="3643"/>
                  </a:cubicBezTo>
                  <a:lnTo>
                    <a:pt x="38348" y="3632"/>
                  </a:lnTo>
                  <a:close/>
                  <a:moveTo>
                    <a:pt x="2026" y="1"/>
                  </a:moveTo>
                  <a:cubicBezTo>
                    <a:pt x="1993" y="11"/>
                    <a:pt x="1961" y="22"/>
                    <a:pt x="1929" y="33"/>
                  </a:cubicBezTo>
                  <a:cubicBezTo>
                    <a:pt x="1671" y="130"/>
                    <a:pt x="1483" y="307"/>
                    <a:pt x="1366" y="559"/>
                  </a:cubicBezTo>
                  <a:cubicBezTo>
                    <a:pt x="1064" y="5351"/>
                    <a:pt x="785" y="10149"/>
                    <a:pt x="506" y="14946"/>
                  </a:cubicBezTo>
                  <a:cubicBezTo>
                    <a:pt x="495" y="15155"/>
                    <a:pt x="392" y="15430"/>
                    <a:pt x="457" y="15639"/>
                  </a:cubicBezTo>
                  <a:cubicBezTo>
                    <a:pt x="451" y="16053"/>
                    <a:pt x="441" y="16467"/>
                    <a:pt x="409" y="16880"/>
                  </a:cubicBezTo>
                  <a:cubicBezTo>
                    <a:pt x="371" y="17359"/>
                    <a:pt x="290" y="17798"/>
                    <a:pt x="323" y="18266"/>
                  </a:cubicBezTo>
                  <a:cubicBezTo>
                    <a:pt x="275" y="18981"/>
                    <a:pt x="199" y="19700"/>
                    <a:pt x="205" y="20414"/>
                  </a:cubicBezTo>
                  <a:cubicBezTo>
                    <a:pt x="205" y="20759"/>
                    <a:pt x="161" y="20995"/>
                    <a:pt x="0" y="21118"/>
                  </a:cubicBezTo>
                  <a:cubicBezTo>
                    <a:pt x="38" y="21227"/>
                    <a:pt x="92" y="21329"/>
                    <a:pt x="173" y="21420"/>
                  </a:cubicBezTo>
                  <a:cubicBezTo>
                    <a:pt x="199" y="21446"/>
                    <a:pt x="226" y="21468"/>
                    <a:pt x="253" y="21495"/>
                  </a:cubicBezTo>
                  <a:cubicBezTo>
                    <a:pt x="2284" y="21554"/>
                    <a:pt x="4319" y="21614"/>
                    <a:pt x="6355" y="21672"/>
                  </a:cubicBezTo>
                  <a:cubicBezTo>
                    <a:pt x="6657" y="21736"/>
                    <a:pt x="6963" y="21775"/>
                    <a:pt x="7269" y="21800"/>
                  </a:cubicBezTo>
                  <a:lnTo>
                    <a:pt x="7946" y="21800"/>
                  </a:lnTo>
                  <a:lnTo>
                    <a:pt x="8891" y="21833"/>
                  </a:lnTo>
                  <a:cubicBezTo>
                    <a:pt x="9359" y="21817"/>
                    <a:pt x="9826" y="21795"/>
                    <a:pt x="10294" y="21780"/>
                  </a:cubicBezTo>
                  <a:cubicBezTo>
                    <a:pt x="20066" y="21956"/>
                    <a:pt x="29833" y="22145"/>
                    <a:pt x="39604" y="22296"/>
                  </a:cubicBezTo>
                  <a:cubicBezTo>
                    <a:pt x="39867" y="22301"/>
                    <a:pt x="40066" y="22333"/>
                    <a:pt x="40212" y="22403"/>
                  </a:cubicBezTo>
                  <a:lnTo>
                    <a:pt x="40212" y="21936"/>
                  </a:lnTo>
                  <a:cubicBezTo>
                    <a:pt x="40415" y="21822"/>
                    <a:pt x="40507" y="21586"/>
                    <a:pt x="40507" y="21135"/>
                  </a:cubicBezTo>
                  <a:cubicBezTo>
                    <a:pt x="40470" y="16826"/>
                    <a:pt x="40480" y="12512"/>
                    <a:pt x="40502" y="8205"/>
                  </a:cubicBezTo>
                  <a:cubicBezTo>
                    <a:pt x="40502" y="8000"/>
                    <a:pt x="40464" y="7818"/>
                    <a:pt x="40405" y="7645"/>
                  </a:cubicBezTo>
                  <a:lnTo>
                    <a:pt x="40405" y="7640"/>
                  </a:lnTo>
                  <a:lnTo>
                    <a:pt x="40405" y="7630"/>
                  </a:lnTo>
                  <a:cubicBezTo>
                    <a:pt x="40346" y="7452"/>
                    <a:pt x="40276" y="7285"/>
                    <a:pt x="40212" y="7114"/>
                  </a:cubicBezTo>
                  <a:cubicBezTo>
                    <a:pt x="40203" y="7116"/>
                    <a:pt x="40195" y="7116"/>
                    <a:pt x="40187" y="7116"/>
                  </a:cubicBezTo>
                  <a:cubicBezTo>
                    <a:pt x="40179" y="7116"/>
                    <a:pt x="40171" y="7116"/>
                    <a:pt x="40163" y="7119"/>
                  </a:cubicBezTo>
                  <a:cubicBezTo>
                    <a:pt x="39486" y="6001"/>
                    <a:pt x="38154" y="5319"/>
                    <a:pt x="38320" y="3794"/>
                  </a:cubicBezTo>
                  <a:cubicBezTo>
                    <a:pt x="38325" y="3750"/>
                    <a:pt x="38315" y="3718"/>
                    <a:pt x="38320" y="3675"/>
                  </a:cubicBezTo>
                  <a:cubicBezTo>
                    <a:pt x="38326" y="3662"/>
                    <a:pt x="38335" y="3651"/>
                    <a:pt x="38343" y="3640"/>
                  </a:cubicBezTo>
                  <a:lnTo>
                    <a:pt x="38343" y="3640"/>
                  </a:lnTo>
                  <a:cubicBezTo>
                    <a:pt x="38433" y="3254"/>
                    <a:pt x="38362" y="2906"/>
                    <a:pt x="38105" y="2606"/>
                  </a:cubicBezTo>
                  <a:cubicBezTo>
                    <a:pt x="37767" y="1989"/>
                    <a:pt x="37095" y="1597"/>
                    <a:pt x="36429" y="1107"/>
                  </a:cubicBezTo>
                  <a:cubicBezTo>
                    <a:pt x="36371" y="1066"/>
                    <a:pt x="36312" y="1049"/>
                    <a:pt x="36258" y="1049"/>
                  </a:cubicBezTo>
                  <a:cubicBezTo>
                    <a:pt x="36197" y="1049"/>
                    <a:pt x="36142" y="1070"/>
                    <a:pt x="36096" y="1107"/>
                  </a:cubicBezTo>
                  <a:lnTo>
                    <a:pt x="36096" y="1032"/>
                  </a:lnTo>
                  <a:cubicBezTo>
                    <a:pt x="35936" y="1192"/>
                    <a:pt x="35665" y="1225"/>
                    <a:pt x="35357" y="1225"/>
                  </a:cubicBezTo>
                  <a:cubicBezTo>
                    <a:pt x="35232" y="1225"/>
                    <a:pt x="35100" y="1220"/>
                    <a:pt x="34968" y="1215"/>
                  </a:cubicBezTo>
                  <a:cubicBezTo>
                    <a:pt x="24256" y="866"/>
                    <a:pt x="13538" y="506"/>
                    <a:pt x="2826" y="199"/>
                  </a:cubicBezTo>
                  <a:cubicBezTo>
                    <a:pt x="2440" y="189"/>
                    <a:pt x="2187" y="124"/>
                    <a:pt x="2026"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KS</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47" name="Google Shape;1145;p29">
              <a:extLst>
                <a:ext uri="{FF2B5EF4-FFF2-40B4-BE49-F238E27FC236}">
                  <a16:creationId xmlns:a16="http://schemas.microsoft.com/office/drawing/2014/main" id="{A5B0A827-71F0-658B-8AE2-EEA2E04577A1}"/>
                </a:ext>
              </a:extLst>
            </p:cNvPr>
            <p:cNvSpPr/>
            <p:nvPr/>
          </p:nvSpPr>
          <p:spPr>
            <a:xfrm>
              <a:off x="4470075" y="2044725"/>
              <a:ext cx="549300" cy="968625"/>
            </a:xfrm>
            <a:custGeom>
              <a:avLst/>
              <a:gdLst/>
              <a:ahLst/>
              <a:cxnLst/>
              <a:rect l="l" t="t" r="r" b="b"/>
              <a:pathLst>
                <a:path w="21972" h="38745" extrusionOk="0">
                  <a:moveTo>
                    <a:pt x="4013" y="8123"/>
                  </a:moveTo>
                  <a:lnTo>
                    <a:pt x="4013" y="8123"/>
                  </a:lnTo>
                  <a:cubicBezTo>
                    <a:pt x="4008" y="8123"/>
                    <a:pt x="4008" y="8128"/>
                    <a:pt x="4003" y="8128"/>
                  </a:cubicBezTo>
                  <a:lnTo>
                    <a:pt x="4003" y="8128"/>
                  </a:lnTo>
                  <a:cubicBezTo>
                    <a:pt x="4004" y="8128"/>
                    <a:pt x="4005" y="8128"/>
                    <a:pt x="4006" y="8128"/>
                  </a:cubicBezTo>
                  <a:lnTo>
                    <a:pt x="4006" y="8128"/>
                  </a:lnTo>
                  <a:cubicBezTo>
                    <a:pt x="4008" y="8126"/>
                    <a:pt x="4011" y="8125"/>
                    <a:pt x="4013" y="8123"/>
                  </a:cubicBezTo>
                  <a:close/>
                  <a:moveTo>
                    <a:pt x="4003" y="8128"/>
                  </a:moveTo>
                  <a:cubicBezTo>
                    <a:pt x="4003" y="8128"/>
                    <a:pt x="4003" y="8128"/>
                    <a:pt x="4003" y="8128"/>
                  </a:cubicBezTo>
                  <a:cubicBezTo>
                    <a:pt x="4003" y="8128"/>
                    <a:pt x="4003" y="8128"/>
                    <a:pt x="4003" y="8128"/>
                  </a:cubicBezTo>
                  <a:close/>
                  <a:moveTo>
                    <a:pt x="18024" y="0"/>
                  </a:moveTo>
                  <a:cubicBezTo>
                    <a:pt x="17981" y="65"/>
                    <a:pt x="17933" y="129"/>
                    <a:pt x="17878" y="187"/>
                  </a:cubicBezTo>
                  <a:cubicBezTo>
                    <a:pt x="17804" y="268"/>
                    <a:pt x="17717" y="338"/>
                    <a:pt x="17620" y="397"/>
                  </a:cubicBezTo>
                  <a:cubicBezTo>
                    <a:pt x="17582" y="389"/>
                    <a:pt x="17540" y="387"/>
                    <a:pt x="17497" y="387"/>
                  </a:cubicBezTo>
                  <a:cubicBezTo>
                    <a:pt x="17390" y="387"/>
                    <a:pt x="17276" y="404"/>
                    <a:pt x="17181" y="408"/>
                  </a:cubicBezTo>
                  <a:cubicBezTo>
                    <a:pt x="13103" y="650"/>
                    <a:pt x="9026" y="908"/>
                    <a:pt x="4948" y="1139"/>
                  </a:cubicBezTo>
                  <a:cubicBezTo>
                    <a:pt x="4701" y="1154"/>
                    <a:pt x="4523" y="1203"/>
                    <a:pt x="4416" y="1322"/>
                  </a:cubicBezTo>
                  <a:cubicBezTo>
                    <a:pt x="4340" y="1407"/>
                    <a:pt x="4298" y="1531"/>
                    <a:pt x="4298" y="1709"/>
                  </a:cubicBezTo>
                  <a:cubicBezTo>
                    <a:pt x="4355" y="1691"/>
                    <a:pt x="4407" y="1683"/>
                    <a:pt x="4455" y="1683"/>
                  </a:cubicBezTo>
                  <a:cubicBezTo>
                    <a:pt x="4629" y="1683"/>
                    <a:pt x="4747" y="1794"/>
                    <a:pt x="4819" y="1987"/>
                  </a:cubicBezTo>
                  <a:cubicBezTo>
                    <a:pt x="5200" y="2148"/>
                    <a:pt x="5114" y="2476"/>
                    <a:pt x="5093" y="2783"/>
                  </a:cubicBezTo>
                  <a:cubicBezTo>
                    <a:pt x="5137" y="2779"/>
                    <a:pt x="5179" y="2777"/>
                    <a:pt x="5220" y="2777"/>
                  </a:cubicBezTo>
                  <a:cubicBezTo>
                    <a:pt x="5566" y="2777"/>
                    <a:pt x="5826" y="2907"/>
                    <a:pt x="5894" y="3325"/>
                  </a:cubicBezTo>
                  <a:cubicBezTo>
                    <a:pt x="6812" y="3830"/>
                    <a:pt x="6877" y="4265"/>
                    <a:pt x="6157" y="5168"/>
                  </a:cubicBezTo>
                  <a:cubicBezTo>
                    <a:pt x="6205" y="5426"/>
                    <a:pt x="6145" y="5624"/>
                    <a:pt x="5888" y="5721"/>
                  </a:cubicBezTo>
                  <a:cubicBezTo>
                    <a:pt x="5888" y="5892"/>
                    <a:pt x="5781" y="5979"/>
                    <a:pt x="5630" y="6028"/>
                  </a:cubicBezTo>
                  <a:cubicBezTo>
                    <a:pt x="5572" y="6382"/>
                    <a:pt x="5518" y="6742"/>
                    <a:pt x="5458" y="7097"/>
                  </a:cubicBezTo>
                  <a:cubicBezTo>
                    <a:pt x="5145" y="7375"/>
                    <a:pt x="4975" y="7880"/>
                    <a:pt x="4482" y="7880"/>
                  </a:cubicBezTo>
                  <a:cubicBezTo>
                    <a:pt x="4425" y="7880"/>
                    <a:pt x="4364" y="7873"/>
                    <a:pt x="4298" y="7859"/>
                  </a:cubicBezTo>
                  <a:lnTo>
                    <a:pt x="4298" y="7859"/>
                  </a:lnTo>
                  <a:cubicBezTo>
                    <a:pt x="4379" y="8131"/>
                    <a:pt x="4188" y="8123"/>
                    <a:pt x="4006" y="8128"/>
                  </a:cubicBezTo>
                  <a:lnTo>
                    <a:pt x="4006" y="8128"/>
                  </a:lnTo>
                  <a:cubicBezTo>
                    <a:pt x="3471" y="8535"/>
                    <a:pt x="2854" y="8659"/>
                    <a:pt x="2200" y="8659"/>
                  </a:cubicBezTo>
                  <a:cubicBezTo>
                    <a:pt x="2187" y="8659"/>
                    <a:pt x="2174" y="8659"/>
                    <a:pt x="2160" y="8659"/>
                  </a:cubicBezTo>
                  <a:lnTo>
                    <a:pt x="2160" y="8659"/>
                  </a:lnTo>
                  <a:cubicBezTo>
                    <a:pt x="2187" y="8841"/>
                    <a:pt x="2142" y="8945"/>
                    <a:pt x="1989" y="8945"/>
                  </a:cubicBezTo>
                  <a:cubicBezTo>
                    <a:pt x="1960" y="8945"/>
                    <a:pt x="1927" y="8941"/>
                    <a:pt x="1891" y="8934"/>
                  </a:cubicBezTo>
                  <a:cubicBezTo>
                    <a:pt x="1886" y="9380"/>
                    <a:pt x="1886" y="9820"/>
                    <a:pt x="1886" y="10266"/>
                  </a:cubicBezTo>
                  <a:cubicBezTo>
                    <a:pt x="2907" y="10856"/>
                    <a:pt x="2869" y="11577"/>
                    <a:pt x="2155" y="12383"/>
                  </a:cubicBezTo>
                  <a:cubicBezTo>
                    <a:pt x="2187" y="12790"/>
                    <a:pt x="2091" y="13113"/>
                    <a:pt x="1628" y="13199"/>
                  </a:cubicBezTo>
                  <a:cubicBezTo>
                    <a:pt x="1816" y="13527"/>
                    <a:pt x="1543" y="13677"/>
                    <a:pt x="1354" y="13854"/>
                  </a:cubicBezTo>
                  <a:cubicBezTo>
                    <a:pt x="1214" y="13940"/>
                    <a:pt x="1080" y="14027"/>
                    <a:pt x="946" y="14107"/>
                  </a:cubicBezTo>
                  <a:lnTo>
                    <a:pt x="951" y="14171"/>
                  </a:lnTo>
                  <a:lnTo>
                    <a:pt x="935" y="14118"/>
                  </a:lnTo>
                  <a:cubicBezTo>
                    <a:pt x="898" y="14134"/>
                    <a:pt x="866" y="14156"/>
                    <a:pt x="833" y="14176"/>
                  </a:cubicBezTo>
                  <a:cubicBezTo>
                    <a:pt x="613" y="14322"/>
                    <a:pt x="511" y="14553"/>
                    <a:pt x="457" y="14816"/>
                  </a:cubicBezTo>
                  <a:cubicBezTo>
                    <a:pt x="730" y="15074"/>
                    <a:pt x="919" y="15353"/>
                    <a:pt x="747" y="15751"/>
                  </a:cubicBezTo>
                  <a:cubicBezTo>
                    <a:pt x="725" y="15805"/>
                    <a:pt x="710" y="15864"/>
                    <a:pt x="683" y="15917"/>
                  </a:cubicBezTo>
                  <a:cubicBezTo>
                    <a:pt x="527" y="16127"/>
                    <a:pt x="296" y="16186"/>
                    <a:pt x="92" y="16186"/>
                  </a:cubicBezTo>
                  <a:lnTo>
                    <a:pt x="70" y="16186"/>
                  </a:lnTo>
                  <a:cubicBezTo>
                    <a:pt x="113" y="16380"/>
                    <a:pt x="118" y="16578"/>
                    <a:pt x="108" y="16782"/>
                  </a:cubicBezTo>
                  <a:lnTo>
                    <a:pt x="108" y="16847"/>
                  </a:lnTo>
                  <a:cubicBezTo>
                    <a:pt x="108" y="16852"/>
                    <a:pt x="102" y="16863"/>
                    <a:pt x="102" y="16874"/>
                  </a:cubicBezTo>
                  <a:cubicBezTo>
                    <a:pt x="38" y="17008"/>
                    <a:pt x="1" y="17169"/>
                    <a:pt x="11" y="17357"/>
                  </a:cubicBezTo>
                  <a:cubicBezTo>
                    <a:pt x="21" y="17464"/>
                    <a:pt x="28" y="17572"/>
                    <a:pt x="38" y="17679"/>
                  </a:cubicBezTo>
                  <a:cubicBezTo>
                    <a:pt x="28" y="17895"/>
                    <a:pt x="33" y="18104"/>
                    <a:pt x="75" y="18309"/>
                  </a:cubicBezTo>
                  <a:cubicBezTo>
                    <a:pt x="113" y="18926"/>
                    <a:pt x="242" y="19533"/>
                    <a:pt x="608" y="20134"/>
                  </a:cubicBezTo>
                  <a:cubicBezTo>
                    <a:pt x="618" y="20151"/>
                    <a:pt x="634" y="20167"/>
                    <a:pt x="640" y="20183"/>
                  </a:cubicBezTo>
                  <a:cubicBezTo>
                    <a:pt x="812" y="20521"/>
                    <a:pt x="1020" y="20838"/>
                    <a:pt x="1290" y="21123"/>
                  </a:cubicBezTo>
                  <a:cubicBezTo>
                    <a:pt x="2525" y="22402"/>
                    <a:pt x="3444" y="23917"/>
                    <a:pt x="4598" y="25222"/>
                  </a:cubicBezTo>
                  <a:cubicBezTo>
                    <a:pt x="4674" y="25400"/>
                    <a:pt x="4749" y="25582"/>
                    <a:pt x="4824" y="25760"/>
                  </a:cubicBezTo>
                  <a:cubicBezTo>
                    <a:pt x="4830" y="25770"/>
                    <a:pt x="4836" y="25787"/>
                    <a:pt x="4841" y="25797"/>
                  </a:cubicBezTo>
                  <a:cubicBezTo>
                    <a:pt x="4970" y="25883"/>
                    <a:pt x="5126" y="25936"/>
                    <a:pt x="5307" y="25941"/>
                  </a:cubicBezTo>
                  <a:cubicBezTo>
                    <a:pt x="5482" y="26057"/>
                    <a:pt x="5664" y="26094"/>
                    <a:pt x="5847" y="26094"/>
                  </a:cubicBezTo>
                  <a:cubicBezTo>
                    <a:pt x="6188" y="26094"/>
                    <a:pt x="6533" y="25964"/>
                    <a:pt x="6845" y="25964"/>
                  </a:cubicBezTo>
                  <a:cubicBezTo>
                    <a:pt x="7014" y="25964"/>
                    <a:pt x="7173" y="26002"/>
                    <a:pt x="7317" y="26119"/>
                  </a:cubicBezTo>
                  <a:cubicBezTo>
                    <a:pt x="7446" y="26259"/>
                    <a:pt x="7548" y="26409"/>
                    <a:pt x="7628" y="26565"/>
                  </a:cubicBezTo>
                  <a:cubicBezTo>
                    <a:pt x="7784" y="26915"/>
                    <a:pt x="7908" y="27446"/>
                    <a:pt x="7978" y="28269"/>
                  </a:cubicBezTo>
                  <a:cubicBezTo>
                    <a:pt x="7989" y="28338"/>
                    <a:pt x="7994" y="28398"/>
                    <a:pt x="8005" y="28467"/>
                  </a:cubicBezTo>
                  <a:cubicBezTo>
                    <a:pt x="8005" y="28520"/>
                    <a:pt x="8010" y="28579"/>
                    <a:pt x="8010" y="28639"/>
                  </a:cubicBezTo>
                  <a:cubicBezTo>
                    <a:pt x="8027" y="29444"/>
                    <a:pt x="7838" y="30337"/>
                    <a:pt x="7978" y="31148"/>
                  </a:cubicBezTo>
                  <a:cubicBezTo>
                    <a:pt x="7784" y="31840"/>
                    <a:pt x="8547" y="32452"/>
                    <a:pt x="9106" y="32754"/>
                  </a:cubicBezTo>
                  <a:cubicBezTo>
                    <a:pt x="9698" y="33077"/>
                    <a:pt x="10363" y="33226"/>
                    <a:pt x="10955" y="33560"/>
                  </a:cubicBezTo>
                  <a:cubicBezTo>
                    <a:pt x="11002" y="33587"/>
                    <a:pt x="11040" y="33613"/>
                    <a:pt x="11084" y="33645"/>
                  </a:cubicBezTo>
                  <a:cubicBezTo>
                    <a:pt x="11116" y="33677"/>
                    <a:pt x="11153" y="33704"/>
                    <a:pt x="11196" y="33726"/>
                  </a:cubicBezTo>
                  <a:cubicBezTo>
                    <a:pt x="11335" y="33833"/>
                    <a:pt x="11438" y="33962"/>
                    <a:pt x="11518" y="34096"/>
                  </a:cubicBezTo>
                  <a:cubicBezTo>
                    <a:pt x="11555" y="34505"/>
                    <a:pt x="11690" y="34882"/>
                    <a:pt x="11900" y="35236"/>
                  </a:cubicBezTo>
                  <a:cubicBezTo>
                    <a:pt x="11986" y="35913"/>
                    <a:pt x="12007" y="36687"/>
                    <a:pt x="12173" y="37309"/>
                  </a:cubicBezTo>
                  <a:cubicBezTo>
                    <a:pt x="12147" y="37374"/>
                    <a:pt x="12136" y="37449"/>
                    <a:pt x="12173" y="37535"/>
                  </a:cubicBezTo>
                  <a:cubicBezTo>
                    <a:pt x="12341" y="37944"/>
                    <a:pt x="12458" y="38303"/>
                    <a:pt x="12786" y="38609"/>
                  </a:cubicBezTo>
                  <a:cubicBezTo>
                    <a:pt x="12850" y="38666"/>
                    <a:pt x="12934" y="38693"/>
                    <a:pt x="13017" y="38693"/>
                  </a:cubicBezTo>
                  <a:cubicBezTo>
                    <a:pt x="13059" y="38693"/>
                    <a:pt x="13101" y="38686"/>
                    <a:pt x="13140" y="38673"/>
                  </a:cubicBezTo>
                  <a:cubicBezTo>
                    <a:pt x="13211" y="38695"/>
                    <a:pt x="13275" y="38722"/>
                    <a:pt x="13350" y="38738"/>
                  </a:cubicBezTo>
                  <a:cubicBezTo>
                    <a:pt x="13377" y="38738"/>
                    <a:pt x="13410" y="38744"/>
                    <a:pt x="13437" y="38744"/>
                  </a:cubicBezTo>
                  <a:cubicBezTo>
                    <a:pt x="13495" y="38744"/>
                    <a:pt x="13554" y="38733"/>
                    <a:pt x="13608" y="38712"/>
                  </a:cubicBezTo>
                  <a:cubicBezTo>
                    <a:pt x="13571" y="38519"/>
                    <a:pt x="13538" y="38325"/>
                    <a:pt x="13527" y="38137"/>
                  </a:cubicBezTo>
                  <a:cubicBezTo>
                    <a:pt x="13662" y="38018"/>
                    <a:pt x="13769" y="37842"/>
                    <a:pt x="13856" y="37605"/>
                  </a:cubicBezTo>
                  <a:cubicBezTo>
                    <a:pt x="13968" y="37304"/>
                    <a:pt x="14107" y="37089"/>
                    <a:pt x="14258" y="36939"/>
                  </a:cubicBezTo>
                  <a:cubicBezTo>
                    <a:pt x="14410" y="36871"/>
                    <a:pt x="14553" y="36842"/>
                    <a:pt x="14690" y="36842"/>
                  </a:cubicBezTo>
                  <a:cubicBezTo>
                    <a:pt x="15456" y="36842"/>
                    <a:pt x="16029" y="37755"/>
                    <a:pt x="16874" y="37755"/>
                  </a:cubicBezTo>
                  <a:cubicBezTo>
                    <a:pt x="16908" y="37755"/>
                    <a:pt x="16941" y="37753"/>
                    <a:pt x="16976" y="37750"/>
                  </a:cubicBezTo>
                  <a:lnTo>
                    <a:pt x="17105" y="37750"/>
                  </a:lnTo>
                  <a:cubicBezTo>
                    <a:pt x="17111" y="37739"/>
                    <a:pt x="17122" y="37728"/>
                    <a:pt x="17127" y="37718"/>
                  </a:cubicBezTo>
                  <a:cubicBezTo>
                    <a:pt x="17245" y="37681"/>
                    <a:pt x="17320" y="37572"/>
                    <a:pt x="17330" y="37455"/>
                  </a:cubicBezTo>
                  <a:cubicBezTo>
                    <a:pt x="17503" y="37218"/>
                    <a:pt x="17615" y="36960"/>
                    <a:pt x="17454" y="36611"/>
                  </a:cubicBezTo>
                  <a:cubicBezTo>
                    <a:pt x="16928" y="35462"/>
                    <a:pt x="17363" y="34909"/>
                    <a:pt x="18567" y="34800"/>
                  </a:cubicBezTo>
                  <a:cubicBezTo>
                    <a:pt x="19001" y="34763"/>
                    <a:pt x="19276" y="34505"/>
                    <a:pt x="19232" y="34022"/>
                  </a:cubicBezTo>
                  <a:cubicBezTo>
                    <a:pt x="19195" y="34006"/>
                    <a:pt x="19179" y="33989"/>
                    <a:pt x="19152" y="33974"/>
                  </a:cubicBezTo>
                  <a:cubicBezTo>
                    <a:pt x="19490" y="33355"/>
                    <a:pt x="19710" y="32608"/>
                    <a:pt x="19819" y="31926"/>
                  </a:cubicBezTo>
                  <a:cubicBezTo>
                    <a:pt x="19819" y="31921"/>
                    <a:pt x="19819" y="31921"/>
                    <a:pt x="19824" y="31921"/>
                  </a:cubicBezTo>
                  <a:cubicBezTo>
                    <a:pt x="19819" y="31921"/>
                    <a:pt x="19819" y="31916"/>
                    <a:pt x="19819" y="31916"/>
                  </a:cubicBezTo>
                  <a:cubicBezTo>
                    <a:pt x="19829" y="31862"/>
                    <a:pt x="19839" y="31803"/>
                    <a:pt x="19851" y="31755"/>
                  </a:cubicBezTo>
                  <a:cubicBezTo>
                    <a:pt x="19941" y="31061"/>
                    <a:pt x="19894" y="30401"/>
                    <a:pt x="19936" y="29745"/>
                  </a:cubicBezTo>
                  <a:cubicBezTo>
                    <a:pt x="20243" y="29326"/>
                    <a:pt x="20677" y="29010"/>
                    <a:pt x="20957" y="28520"/>
                  </a:cubicBezTo>
                  <a:cubicBezTo>
                    <a:pt x="21456" y="27639"/>
                    <a:pt x="21887" y="26705"/>
                    <a:pt x="21956" y="25690"/>
                  </a:cubicBezTo>
                  <a:cubicBezTo>
                    <a:pt x="21972" y="25470"/>
                    <a:pt x="21924" y="25292"/>
                    <a:pt x="21833" y="25147"/>
                  </a:cubicBezTo>
                  <a:cubicBezTo>
                    <a:pt x="21736" y="24803"/>
                    <a:pt x="21565" y="24470"/>
                    <a:pt x="21376" y="24136"/>
                  </a:cubicBezTo>
                  <a:cubicBezTo>
                    <a:pt x="21220" y="22299"/>
                    <a:pt x="21376" y="20457"/>
                    <a:pt x="21173" y="18604"/>
                  </a:cubicBezTo>
                  <a:cubicBezTo>
                    <a:pt x="20747" y="14768"/>
                    <a:pt x="20565" y="10900"/>
                    <a:pt x="20258" y="7048"/>
                  </a:cubicBezTo>
                  <a:cubicBezTo>
                    <a:pt x="20231" y="6705"/>
                    <a:pt x="20206" y="6393"/>
                    <a:pt x="20307" y="6189"/>
                  </a:cubicBezTo>
                  <a:cubicBezTo>
                    <a:pt x="20253" y="5984"/>
                    <a:pt x="20199" y="5785"/>
                    <a:pt x="20141" y="5592"/>
                  </a:cubicBezTo>
                  <a:cubicBezTo>
                    <a:pt x="19915" y="4845"/>
                    <a:pt x="19631" y="4131"/>
                    <a:pt x="19356" y="3427"/>
                  </a:cubicBezTo>
                  <a:cubicBezTo>
                    <a:pt x="18964" y="2443"/>
                    <a:pt x="18599" y="1515"/>
                    <a:pt x="18379" y="526"/>
                  </a:cubicBezTo>
                  <a:cubicBezTo>
                    <a:pt x="18330" y="295"/>
                    <a:pt x="18201" y="118"/>
                    <a:pt x="18024"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IL</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48" name="Google Shape;1146;p29">
              <a:extLst>
                <a:ext uri="{FF2B5EF4-FFF2-40B4-BE49-F238E27FC236}">
                  <a16:creationId xmlns:a16="http://schemas.microsoft.com/office/drawing/2014/main" id="{3F378B9D-428A-1882-6AB0-F0F0D9C6FF43}"/>
                </a:ext>
              </a:extLst>
            </p:cNvPr>
            <p:cNvSpPr/>
            <p:nvPr/>
          </p:nvSpPr>
          <p:spPr>
            <a:xfrm>
              <a:off x="4545275" y="1189325"/>
              <a:ext cx="1041025" cy="1037375"/>
            </a:xfrm>
            <a:custGeom>
              <a:avLst/>
              <a:gdLst/>
              <a:ahLst/>
              <a:cxnLst/>
              <a:rect l="l" t="t" r="r" b="b"/>
              <a:pathLst>
                <a:path w="41641" h="41495" extrusionOk="0">
                  <a:moveTo>
                    <a:pt x="11653" y="0"/>
                  </a:moveTo>
                  <a:cubicBezTo>
                    <a:pt x="10251" y="0"/>
                    <a:pt x="9407" y="752"/>
                    <a:pt x="8591" y="1483"/>
                  </a:cubicBezTo>
                  <a:cubicBezTo>
                    <a:pt x="8398" y="1649"/>
                    <a:pt x="8205" y="1827"/>
                    <a:pt x="8005" y="1988"/>
                  </a:cubicBezTo>
                  <a:cubicBezTo>
                    <a:pt x="5775" y="3798"/>
                    <a:pt x="3197" y="5190"/>
                    <a:pt x="307" y="6699"/>
                  </a:cubicBezTo>
                  <a:cubicBezTo>
                    <a:pt x="243" y="6732"/>
                    <a:pt x="184" y="6779"/>
                    <a:pt x="140" y="6839"/>
                  </a:cubicBezTo>
                  <a:cubicBezTo>
                    <a:pt x="97" y="6888"/>
                    <a:pt x="65" y="6947"/>
                    <a:pt x="43" y="7017"/>
                  </a:cubicBezTo>
                  <a:cubicBezTo>
                    <a:pt x="1" y="7151"/>
                    <a:pt x="17" y="7295"/>
                    <a:pt x="87" y="7424"/>
                  </a:cubicBezTo>
                  <a:cubicBezTo>
                    <a:pt x="87" y="7431"/>
                    <a:pt x="92" y="7436"/>
                    <a:pt x="97" y="7441"/>
                  </a:cubicBezTo>
                  <a:cubicBezTo>
                    <a:pt x="361" y="7600"/>
                    <a:pt x="641" y="7655"/>
                    <a:pt x="931" y="7655"/>
                  </a:cubicBezTo>
                  <a:cubicBezTo>
                    <a:pt x="1042" y="7655"/>
                    <a:pt x="1154" y="7647"/>
                    <a:pt x="1268" y="7634"/>
                  </a:cubicBezTo>
                  <a:lnTo>
                    <a:pt x="1268" y="7634"/>
                  </a:lnTo>
                  <a:cubicBezTo>
                    <a:pt x="1231" y="7875"/>
                    <a:pt x="1215" y="8113"/>
                    <a:pt x="1537" y="8177"/>
                  </a:cubicBezTo>
                  <a:cubicBezTo>
                    <a:pt x="1451" y="8832"/>
                    <a:pt x="1913" y="8951"/>
                    <a:pt x="2403" y="9042"/>
                  </a:cubicBezTo>
                  <a:cubicBezTo>
                    <a:pt x="3132" y="9171"/>
                    <a:pt x="3863" y="9305"/>
                    <a:pt x="4594" y="9439"/>
                  </a:cubicBezTo>
                  <a:cubicBezTo>
                    <a:pt x="5426" y="9558"/>
                    <a:pt x="6264" y="9675"/>
                    <a:pt x="7097" y="9794"/>
                  </a:cubicBezTo>
                  <a:cubicBezTo>
                    <a:pt x="7144" y="9924"/>
                    <a:pt x="7182" y="10062"/>
                    <a:pt x="7327" y="10062"/>
                  </a:cubicBezTo>
                  <a:cubicBezTo>
                    <a:pt x="7350" y="10062"/>
                    <a:pt x="7375" y="10059"/>
                    <a:pt x="7404" y="10052"/>
                  </a:cubicBezTo>
                  <a:lnTo>
                    <a:pt x="7404" y="10052"/>
                  </a:lnTo>
                  <a:cubicBezTo>
                    <a:pt x="7323" y="10320"/>
                    <a:pt x="7457" y="10476"/>
                    <a:pt x="7699" y="10583"/>
                  </a:cubicBezTo>
                  <a:lnTo>
                    <a:pt x="7699" y="10573"/>
                  </a:lnTo>
                  <a:cubicBezTo>
                    <a:pt x="9048" y="11180"/>
                    <a:pt x="10799" y="10390"/>
                    <a:pt x="11959" y="12055"/>
                  </a:cubicBezTo>
                  <a:cubicBezTo>
                    <a:pt x="12351" y="12620"/>
                    <a:pt x="12851" y="12915"/>
                    <a:pt x="12668" y="13672"/>
                  </a:cubicBezTo>
                  <a:cubicBezTo>
                    <a:pt x="12588" y="14006"/>
                    <a:pt x="12437" y="14644"/>
                    <a:pt x="12588" y="14644"/>
                  </a:cubicBezTo>
                  <a:cubicBezTo>
                    <a:pt x="12814" y="14644"/>
                    <a:pt x="12985" y="14688"/>
                    <a:pt x="13114" y="14758"/>
                  </a:cubicBezTo>
                  <a:cubicBezTo>
                    <a:pt x="10235" y="17272"/>
                    <a:pt x="8468" y="21693"/>
                    <a:pt x="8778" y="25529"/>
                  </a:cubicBezTo>
                  <a:cubicBezTo>
                    <a:pt x="8785" y="25610"/>
                    <a:pt x="8800" y="25690"/>
                    <a:pt x="8805" y="25771"/>
                  </a:cubicBezTo>
                  <a:cubicBezTo>
                    <a:pt x="12658" y="27581"/>
                    <a:pt x="15338" y="30155"/>
                    <a:pt x="15338" y="34629"/>
                  </a:cubicBezTo>
                  <a:cubicBezTo>
                    <a:pt x="15338" y="36074"/>
                    <a:pt x="17101" y="39781"/>
                    <a:pt x="17101" y="39781"/>
                  </a:cubicBezTo>
                  <a:cubicBezTo>
                    <a:pt x="19244" y="39781"/>
                    <a:pt x="21264" y="40420"/>
                    <a:pt x="22988" y="41494"/>
                  </a:cubicBezTo>
                  <a:cubicBezTo>
                    <a:pt x="29085" y="40678"/>
                    <a:pt x="36543" y="41130"/>
                    <a:pt x="38869" y="35301"/>
                  </a:cubicBezTo>
                  <a:cubicBezTo>
                    <a:pt x="39159" y="34564"/>
                    <a:pt x="39368" y="33733"/>
                    <a:pt x="39491" y="32776"/>
                  </a:cubicBezTo>
                  <a:cubicBezTo>
                    <a:pt x="40072" y="32255"/>
                    <a:pt x="40518" y="31712"/>
                    <a:pt x="40850" y="31148"/>
                  </a:cubicBezTo>
                  <a:cubicBezTo>
                    <a:pt x="41189" y="30584"/>
                    <a:pt x="41410" y="29999"/>
                    <a:pt x="41549" y="29392"/>
                  </a:cubicBezTo>
                  <a:cubicBezTo>
                    <a:pt x="41641" y="25668"/>
                    <a:pt x="41641" y="19695"/>
                    <a:pt x="36994" y="19028"/>
                  </a:cubicBezTo>
                  <a:cubicBezTo>
                    <a:pt x="36994" y="19028"/>
                    <a:pt x="36327" y="20356"/>
                    <a:pt x="36327" y="21021"/>
                  </a:cubicBezTo>
                  <a:cubicBezTo>
                    <a:pt x="36327" y="16375"/>
                    <a:pt x="36994" y="12388"/>
                    <a:pt x="32824" y="9100"/>
                  </a:cubicBezTo>
                  <a:cubicBezTo>
                    <a:pt x="32777" y="9047"/>
                    <a:pt x="32717" y="9003"/>
                    <a:pt x="32663" y="8956"/>
                  </a:cubicBezTo>
                  <a:cubicBezTo>
                    <a:pt x="32895" y="8939"/>
                    <a:pt x="33158" y="8881"/>
                    <a:pt x="33357" y="8655"/>
                  </a:cubicBezTo>
                  <a:cubicBezTo>
                    <a:pt x="33523" y="8456"/>
                    <a:pt x="33588" y="8198"/>
                    <a:pt x="33540" y="7887"/>
                  </a:cubicBezTo>
                  <a:cubicBezTo>
                    <a:pt x="33475" y="7409"/>
                    <a:pt x="33126" y="7097"/>
                    <a:pt x="32663" y="7097"/>
                  </a:cubicBezTo>
                  <a:cubicBezTo>
                    <a:pt x="32514" y="7097"/>
                    <a:pt x="32358" y="7129"/>
                    <a:pt x="32207" y="7193"/>
                  </a:cubicBezTo>
                  <a:cubicBezTo>
                    <a:pt x="32008" y="7269"/>
                    <a:pt x="31820" y="7312"/>
                    <a:pt x="31648" y="7312"/>
                  </a:cubicBezTo>
                  <a:cubicBezTo>
                    <a:pt x="31165" y="7312"/>
                    <a:pt x="30736" y="7005"/>
                    <a:pt x="30246" y="6313"/>
                  </a:cubicBezTo>
                  <a:cubicBezTo>
                    <a:pt x="29725" y="5582"/>
                    <a:pt x="29059" y="5222"/>
                    <a:pt x="28210" y="5222"/>
                  </a:cubicBezTo>
                  <a:cubicBezTo>
                    <a:pt x="27963" y="5222"/>
                    <a:pt x="27699" y="5249"/>
                    <a:pt x="27388" y="5308"/>
                  </a:cubicBezTo>
                  <a:cubicBezTo>
                    <a:pt x="26942" y="5393"/>
                    <a:pt x="26577" y="5458"/>
                    <a:pt x="26352" y="5458"/>
                  </a:cubicBezTo>
                  <a:cubicBezTo>
                    <a:pt x="26152" y="5458"/>
                    <a:pt x="26094" y="5458"/>
                    <a:pt x="25846" y="4304"/>
                  </a:cubicBezTo>
                  <a:cubicBezTo>
                    <a:pt x="25787" y="4024"/>
                    <a:pt x="25653" y="3379"/>
                    <a:pt x="25013" y="3379"/>
                  </a:cubicBezTo>
                  <a:cubicBezTo>
                    <a:pt x="24863" y="3379"/>
                    <a:pt x="24701" y="3427"/>
                    <a:pt x="24525" y="3519"/>
                  </a:cubicBezTo>
                  <a:cubicBezTo>
                    <a:pt x="23692" y="3949"/>
                    <a:pt x="22789" y="4153"/>
                    <a:pt x="21828" y="4374"/>
                  </a:cubicBezTo>
                  <a:cubicBezTo>
                    <a:pt x="21151" y="4530"/>
                    <a:pt x="20447" y="4684"/>
                    <a:pt x="19765" y="4932"/>
                  </a:cubicBezTo>
                  <a:cubicBezTo>
                    <a:pt x="18921" y="5244"/>
                    <a:pt x="18234" y="5770"/>
                    <a:pt x="17756" y="6479"/>
                  </a:cubicBezTo>
                  <a:cubicBezTo>
                    <a:pt x="17191" y="6189"/>
                    <a:pt x="16628" y="6038"/>
                    <a:pt x="16069" y="6038"/>
                  </a:cubicBezTo>
                  <a:cubicBezTo>
                    <a:pt x="15757" y="6038"/>
                    <a:pt x="15445" y="6087"/>
                    <a:pt x="15150" y="6179"/>
                  </a:cubicBezTo>
                  <a:cubicBezTo>
                    <a:pt x="15026" y="6216"/>
                    <a:pt x="14919" y="6238"/>
                    <a:pt x="14828" y="6238"/>
                  </a:cubicBezTo>
                  <a:cubicBezTo>
                    <a:pt x="14683" y="6238"/>
                    <a:pt x="14527" y="6206"/>
                    <a:pt x="14307" y="5861"/>
                  </a:cubicBezTo>
                  <a:cubicBezTo>
                    <a:pt x="13749" y="4969"/>
                    <a:pt x="12921" y="4588"/>
                    <a:pt x="12120" y="4212"/>
                  </a:cubicBezTo>
                  <a:cubicBezTo>
                    <a:pt x="12029" y="4169"/>
                    <a:pt x="11937" y="4126"/>
                    <a:pt x="11847" y="4083"/>
                  </a:cubicBezTo>
                  <a:cubicBezTo>
                    <a:pt x="11535" y="3938"/>
                    <a:pt x="11240" y="3863"/>
                    <a:pt x="10944" y="3863"/>
                  </a:cubicBezTo>
                  <a:cubicBezTo>
                    <a:pt x="10396" y="3863"/>
                    <a:pt x="9950" y="4111"/>
                    <a:pt x="9536" y="4421"/>
                  </a:cubicBezTo>
                  <a:cubicBezTo>
                    <a:pt x="9810" y="3530"/>
                    <a:pt x="10461" y="2896"/>
                    <a:pt x="11138" y="2241"/>
                  </a:cubicBezTo>
                  <a:cubicBezTo>
                    <a:pt x="11577" y="1810"/>
                    <a:pt x="12034" y="1371"/>
                    <a:pt x="12388" y="843"/>
                  </a:cubicBezTo>
                  <a:cubicBezTo>
                    <a:pt x="12497" y="687"/>
                    <a:pt x="12512" y="489"/>
                    <a:pt x="12432" y="317"/>
                  </a:cubicBezTo>
                  <a:cubicBezTo>
                    <a:pt x="12351" y="146"/>
                    <a:pt x="12185" y="27"/>
                    <a:pt x="11996" y="10"/>
                  </a:cubicBezTo>
                  <a:cubicBezTo>
                    <a:pt x="11879" y="0"/>
                    <a:pt x="11766" y="0"/>
                    <a:pt x="11653"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I</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49" name="Google Shape;1147;p29">
              <a:extLst>
                <a:ext uri="{FF2B5EF4-FFF2-40B4-BE49-F238E27FC236}">
                  <a16:creationId xmlns:a16="http://schemas.microsoft.com/office/drawing/2014/main" id="{019DB930-F4E0-7517-514C-4B06C1DEEAF3}"/>
                </a:ext>
              </a:extLst>
            </p:cNvPr>
            <p:cNvSpPr/>
            <p:nvPr/>
          </p:nvSpPr>
          <p:spPr>
            <a:xfrm>
              <a:off x="2882975" y="1455650"/>
              <a:ext cx="959900" cy="605225"/>
            </a:xfrm>
            <a:custGeom>
              <a:avLst/>
              <a:gdLst/>
              <a:ahLst/>
              <a:cxnLst/>
              <a:rect l="l" t="t" r="r" b="b"/>
              <a:pathLst>
                <a:path w="38396" h="24209" extrusionOk="0">
                  <a:moveTo>
                    <a:pt x="1575" y="1"/>
                  </a:moveTo>
                  <a:cubicBezTo>
                    <a:pt x="1537" y="43"/>
                    <a:pt x="1510" y="86"/>
                    <a:pt x="1478" y="135"/>
                  </a:cubicBezTo>
                  <a:lnTo>
                    <a:pt x="1478" y="495"/>
                  </a:lnTo>
                  <a:cubicBezTo>
                    <a:pt x="1398" y="1021"/>
                    <a:pt x="1317" y="1574"/>
                    <a:pt x="1220" y="2193"/>
                  </a:cubicBezTo>
                  <a:cubicBezTo>
                    <a:pt x="1231" y="2186"/>
                    <a:pt x="1237" y="2176"/>
                    <a:pt x="1242" y="2171"/>
                  </a:cubicBezTo>
                  <a:lnTo>
                    <a:pt x="1242" y="2171"/>
                  </a:lnTo>
                  <a:cubicBezTo>
                    <a:pt x="1220" y="2396"/>
                    <a:pt x="1215" y="2622"/>
                    <a:pt x="1205" y="2853"/>
                  </a:cubicBezTo>
                  <a:cubicBezTo>
                    <a:pt x="1183" y="3282"/>
                    <a:pt x="1108" y="3708"/>
                    <a:pt x="1049" y="4132"/>
                  </a:cubicBezTo>
                  <a:cubicBezTo>
                    <a:pt x="930" y="4631"/>
                    <a:pt x="850" y="5136"/>
                    <a:pt x="823" y="5642"/>
                  </a:cubicBezTo>
                  <a:cubicBezTo>
                    <a:pt x="806" y="6006"/>
                    <a:pt x="726" y="6215"/>
                    <a:pt x="570" y="6319"/>
                  </a:cubicBezTo>
                  <a:cubicBezTo>
                    <a:pt x="570" y="6351"/>
                    <a:pt x="565" y="6383"/>
                    <a:pt x="565" y="6415"/>
                  </a:cubicBezTo>
                  <a:cubicBezTo>
                    <a:pt x="779" y="6527"/>
                    <a:pt x="947" y="6694"/>
                    <a:pt x="1054" y="6936"/>
                  </a:cubicBezTo>
                  <a:cubicBezTo>
                    <a:pt x="1037" y="7092"/>
                    <a:pt x="1022" y="7247"/>
                    <a:pt x="1011" y="7403"/>
                  </a:cubicBezTo>
                  <a:cubicBezTo>
                    <a:pt x="683" y="11303"/>
                    <a:pt x="414" y="15208"/>
                    <a:pt x="44" y="19103"/>
                  </a:cubicBezTo>
                  <a:cubicBezTo>
                    <a:pt x="1" y="19604"/>
                    <a:pt x="33" y="19904"/>
                    <a:pt x="238" y="20065"/>
                  </a:cubicBezTo>
                  <a:cubicBezTo>
                    <a:pt x="393" y="20189"/>
                    <a:pt x="640" y="20243"/>
                    <a:pt x="1032" y="20248"/>
                  </a:cubicBezTo>
                  <a:cubicBezTo>
                    <a:pt x="3030" y="20269"/>
                    <a:pt x="5029" y="20425"/>
                    <a:pt x="7022" y="20533"/>
                  </a:cubicBezTo>
                  <a:cubicBezTo>
                    <a:pt x="7200" y="20538"/>
                    <a:pt x="7377" y="20538"/>
                    <a:pt x="7575" y="20591"/>
                  </a:cubicBezTo>
                  <a:cubicBezTo>
                    <a:pt x="8483" y="20624"/>
                    <a:pt x="9397" y="20710"/>
                    <a:pt x="10310" y="20785"/>
                  </a:cubicBezTo>
                  <a:lnTo>
                    <a:pt x="10310" y="20774"/>
                  </a:lnTo>
                  <a:cubicBezTo>
                    <a:pt x="12201" y="20876"/>
                    <a:pt x="14092" y="20978"/>
                    <a:pt x="15978" y="21081"/>
                  </a:cubicBezTo>
                  <a:cubicBezTo>
                    <a:pt x="16000" y="21081"/>
                    <a:pt x="16015" y="21086"/>
                    <a:pt x="16037" y="21086"/>
                  </a:cubicBezTo>
                  <a:cubicBezTo>
                    <a:pt x="17525" y="21107"/>
                    <a:pt x="19008" y="21275"/>
                    <a:pt x="20496" y="21300"/>
                  </a:cubicBezTo>
                  <a:cubicBezTo>
                    <a:pt x="20651" y="21304"/>
                    <a:pt x="20808" y="21305"/>
                    <a:pt x="20965" y="21305"/>
                  </a:cubicBezTo>
                  <a:cubicBezTo>
                    <a:pt x="21592" y="21305"/>
                    <a:pt x="22228" y="21283"/>
                    <a:pt x="22859" y="21275"/>
                  </a:cubicBezTo>
                  <a:lnTo>
                    <a:pt x="24939" y="21382"/>
                  </a:lnTo>
                  <a:cubicBezTo>
                    <a:pt x="25638" y="21478"/>
                    <a:pt x="26335" y="21634"/>
                    <a:pt x="27034" y="21677"/>
                  </a:cubicBezTo>
                  <a:cubicBezTo>
                    <a:pt x="27356" y="21694"/>
                    <a:pt x="27770" y="21709"/>
                    <a:pt x="27979" y="21999"/>
                  </a:cubicBezTo>
                  <a:cubicBezTo>
                    <a:pt x="28125" y="22198"/>
                    <a:pt x="28157" y="22371"/>
                    <a:pt x="28242" y="22590"/>
                  </a:cubicBezTo>
                  <a:cubicBezTo>
                    <a:pt x="28323" y="22822"/>
                    <a:pt x="28474" y="22902"/>
                    <a:pt x="28640" y="22919"/>
                  </a:cubicBezTo>
                  <a:cubicBezTo>
                    <a:pt x="28883" y="22843"/>
                    <a:pt x="29122" y="22744"/>
                    <a:pt x="29368" y="22744"/>
                  </a:cubicBezTo>
                  <a:cubicBezTo>
                    <a:pt x="29405" y="22744"/>
                    <a:pt x="29441" y="22746"/>
                    <a:pt x="29478" y="22751"/>
                  </a:cubicBezTo>
                  <a:cubicBezTo>
                    <a:pt x="29574" y="22736"/>
                    <a:pt x="29667" y="22727"/>
                    <a:pt x="29758" y="22727"/>
                  </a:cubicBezTo>
                  <a:cubicBezTo>
                    <a:pt x="29956" y="22727"/>
                    <a:pt x="30144" y="22771"/>
                    <a:pt x="30332" y="22897"/>
                  </a:cubicBezTo>
                  <a:cubicBezTo>
                    <a:pt x="30558" y="23047"/>
                    <a:pt x="30649" y="23338"/>
                    <a:pt x="30778" y="23579"/>
                  </a:cubicBezTo>
                  <a:cubicBezTo>
                    <a:pt x="30924" y="23730"/>
                    <a:pt x="31068" y="23858"/>
                    <a:pt x="31235" y="23955"/>
                  </a:cubicBezTo>
                  <a:cubicBezTo>
                    <a:pt x="31267" y="23963"/>
                    <a:pt x="31304" y="23968"/>
                    <a:pt x="31342" y="23968"/>
                  </a:cubicBezTo>
                  <a:cubicBezTo>
                    <a:pt x="31356" y="23968"/>
                    <a:pt x="31371" y="23967"/>
                    <a:pt x="31385" y="23965"/>
                  </a:cubicBezTo>
                  <a:cubicBezTo>
                    <a:pt x="31762" y="23955"/>
                    <a:pt x="32095" y="23815"/>
                    <a:pt x="32439" y="23697"/>
                  </a:cubicBezTo>
                  <a:cubicBezTo>
                    <a:pt x="32481" y="23665"/>
                    <a:pt x="32529" y="23648"/>
                    <a:pt x="32588" y="23648"/>
                  </a:cubicBezTo>
                  <a:cubicBezTo>
                    <a:pt x="32697" y="23611"/>
                    <a:pt x="32804" y="23584"/>
                    <a:pt x="32911" y="23563"/>
                  </a:cubicBezTo>
                  <a:cubicBezTo>
                    <a:pt x="32927" y="23563"/>
                    <a:pt x="32948" y="23557"/>
                    <a:pt x="32965" y="23557"/>
                  </a:cubicBezTo>
                  <a:cubicBezTo>
                    <a:pt x="33126" y="23422"/>
                    <a:pt x="33288" y="23360"/>
                    <a:pt x="33449" y="23360"/>
                  </a:cubicBezTo>
                  <a:cubicBezTo>
                    <a:pt x="33621" y="23360"/>
                    <a:pt x="33793" y="23430"/>
                    <a:pt x="33964" y="23557"/>
                  </a:cubicBezTo>
                  <a:cubicBezTo>
                    <a:pt x="34453" y="23643"/>
                    <a:pt x="34921" y="23847"/>
                    <a:pt x="35323" y="24164"/>
                  </a:cubicBezTo>
                  <a:cubicBezTo>
                    <a:pt x="35619" y="24199"/>
                    <a:pt x="35916" y="24209"/>
                    <a:pt x="36214" y="24209"/>
                  </a:cubicBezTo>
                  <a:cubicBezTo>
                    <a:pt x="36467" y="24209"/>
                    <a:pt x="36720" y="24202"/>
                    <a:pt x="36972" y="24196"/>
                  </a:cubicBezTo>
                  <a:cubicBezTo>
                    <a:pt x="37031" y="24196"/>
                    <a:pt x="37091" y="24191"/>
                    <a:pt x="37145" y="24191"/>
                  </a:cubicBezTo>
                  <a:cubicBezTo>
                    <a:pt x="37138" y="24127"/>
                    <a:pt x="37138" y="24057"/>
                    <a:pt x="37133" y="23987"/>
                  </a:cubicBezTo>
                  <a:cubicBezTo>
                    <a:pt x="37133" y="23923"/>
                    <a:pt x="37128" y="23853"/>
                    <a:pt x="37133" y="23789"/>
                  </a:cubicBezTo>
                  <a:cubicBezTo>
                    <a:pt x="38395" y="22988"/>
                    <a:pt x="37730" y="22988"/>
                    <a:pt x="37381" y="22010"/>
                  </a:cubicBezTo>
                  <a:cubicBezTo>
                    <a:pt x="37413" y="21962"/>
                    <a:pt x="37450" y="21913"/>
                    <a:pt x="37493" y="21865"/>
                  </a:cubicBezTo>
                  <a:cubicBezTo>
                    <a:pt x="37525" y="21838"/>
                    <a:pt x="37564" y="21823"/>
                    <a:pt x="37606" y="21806"/>
                  </a:cubicBezTo>
                  <a:cubicBezTo>
                    <a:pt x="37644" y="21714"/>
                    <a:pt x="37654" y="21618"/>
                    <a:pt x="37666" y="21521"/>
                  </a:cubicBezTo>
                  <a:cubicBezTo>
                    <a:pt x="37671" y="21473"/>
                    <a:pt x="37671" y="21419"/>
                    <a:pt x="37676" y="21371"/>
                  </a:cubicBezTo>
                  <a:cubicBezTo>
                    <a:pt x="37698" y="21221"/>
                    <a:pt x="37713" y="20920"/>
                    <a:pt x="37703" y="20586"/>
                  </a:cubicBezTo>
                  <a:cubicBezTo>
                    <a:pt x="37703" y="20544"/>
                    <a:pt x="37698" y="20501"/>
                    <a:pt x="37698" y="20457"/>
                  </a:cubicBezTo>
                  <a:cubicBezTo>
                    <a:pt x="37730" y="19668"/>
                    <a:pt x="37730" y="19002"/>
                    <a:pt x="37751" y="18491"/>
                  </a:cubicBezTo>
                  <a:cubicBezTo>
                    <a:pt x="37725" y="18432"/>
                    <a:pt x="37708" y="18362"/>
                    <a:pt x="37693" y="18292"/>
                  </a:cubicBezTo>
                  <a:cubicBezTo>
                    <a:pt x="37676" y="18223"/>
                    <a:pt x="37661" y="18153"/>
                    <a:pt x="37649" y="18072"/>
                  </a:cubicBezTo>
                  <a:cubicBezTo>
                    <a:pt x="37822" y="17073"/>
                    <a:pt x="37966" y="16068"/>
                    <a:pt x="37907" y="15021"/>
                  </a:cubicBezTo>
                  <a:cubicBezTo>
                    <a:pt x="37768" y="12507"/>
                    <a:pt x="37869" y="9981"/>
                    <a:pt x="37875" y="7462"/>
                  </a:cubicBezTo>
                  <a:cubicBezTo>
                    <a:pt x="37875" y="6979"/>
                    <a:pt x="37924" y="6490"/>
                    <a:pt x="37617" y="6066"/>
                  </a:cubicBezTo>
                  <a:cubicBezTo>
                    <a:pt x="37230" y="5694"/>
                    <a:pt x="36887" y="5313"/>
                    <a:pt x="36677" y="4916"/>
                  </a:cubicBezTo>
                  <a:cubicBezTo>
                    <a:pt x="36327" y="4249"/>
                    <a:pt x="36349" y="3535"/>
                    <a:pt x="37138" y="2714"/>
                  </a:cubicBezTo>
                  <a:lnTo>
                    <a:pt x="37145" y="2714"/>
                  </a:lnTo>
                  <a:cubicBezTo>
                    <a:pt x="37214" y="2364"/>
                    <a:pt x="37133" y="2203"/>
                    <a:pt x="36984" y="2128"/>
                  </a:cubicBezTo>
                  <a:cubicBezTo>
                    <a:pt x="36977" y="2101"/>
                    <a:pt x="36972" y="2069"/>
                    <a:pt x="36962" y="2037"/>
                  </a:cubicBezTo>
                  <a:cubicBezTo>
                    <a:pt x="36935" y="2052"/>
                    <a:pt x="36908" y="2069"/>
                    <a:pt x="36875" y="2084"/>
                  </a:cubicBezTo>
                  <a:cubicBezTo>
                    <a:pt x="36714" y="2042"/>
                    <a:pt x="36510" y="2052"/>
                    <a:pt x="36322" y="2042"/>
                  </a:cubicBezTo>
                  <a:cubicBezTo>
                    <a:pt x="29087" y="1677"/>
                    <a:pt x="21850" y="1316"/>
                    <a:pt x="14619" y="951"/>
                  </a:cubicBezTo>
                  <a:cubicBezTo>
                    <a:pt x="11153" y="774"/>
                    <a:pt x="7694" y="591"/>
                    <a:pt x="4228" y="403"/>
                  </a:cubicBezTo>
                  <a:cubicBezTo>
                    <a:pt x="4074" y="393"/>
                    <a:pt x="3918" y="284"/>
                    <a:pt x="3762" y="220"/>
                  </a:cubicBezTo>
                  <a:cubicBezTo>
                    <a:pt x="3461" y="205"/>
                    <a:pt x="3154" y="188"/>
                    <a:pt x="2854" y="167"/>
                  </a:cubicBezTo>
                  <a:cubicBezTo>
                    <a:pt x="2736" y="146"/>
                    <a:pt x="2631" y="136"/>
                    <a:pt x="2537" y="136"/>
                  </a:cubicBezTo>
                  <a:cubicBezTo>
                    <a:pt x="2244" y="136"/>
                    <a:pt x="2063" y="233"/>
                    <a:pt x="1946" y="393"/>
                  </a:cubicBezTo>
                  <a:cubicBezTo>
                    <a:pt x="1785" y="279"/>
                    <a:pt x="1666" y="145"/>
                    <a:pt x="1575"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SD</a:t>
              </a:r>
              <a:endParaRPr kumimoji="0"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150" name="Google Shape;1148;p29">
              <a:extLst>
                <a:ext uri="{FF2B5EF4-FFF2-40B4-BE49-F238E27FC236}">
                  <a16:creationId xmlns:a16="http://schemas.microsoft.com/office/drawing/2014/main" id="{1DA42FB9-63CB-F86D-53B9-7BBE8055AE2D}"/>
                </a:ext>
              </a:extLst>
            </p:cNvPr>
            <p:cNvSpPr/>
            <p:nvPr/>
          </p:nvSpPr>
          <p:spPr>
            <a:xfrm>
              <a:off x="4162775" y="3720375"/>
              <a:ext cx="790825" cy="670525"/>
            </a:xfrm>
            <a:custGeom>
              <a:avLst/>
              <a:gdLst/>
              <a:ahLst/>
              <a:cxnLst/>
              <a:rect l="l" t="t" r="r" b="b"/>
              <a:pathLst>
                <a:path w="31633" h="26821" extrusionOk="0">
                  <a:moveTo>
                    <a:pt x="16037" y="8378"/>
                  </a:moveTo>
                  <a:cubicBezTo>
                    <a:pt x="16036" y="8379"/>
                    <a:pt x="16035" y="8381"/>
                    <a:pt x="16034" y="8382"/>
                  </a:cubicBezTo>
                  <a:lnTo>
                    <a:pt x="16034" y="8382"/>
                  </a:lnTo>
                  <a:cubicBezTo>
                    <a:pt x="16035" y="8382"/>
                    <a:pt x="16037" y="8380"/>
                    <a:pt x="16037" y="8378"/>
                  </a:cubicBezTo>
                  <a:close/>
                  <a:moveTo>
                    <a:pt x="23595" y="17951"/>
                  </a:moveTo>
                  <a:cubicBezTo>
                    <a:pt x="23708" y="17951"/>
                    <a:pt x="23832" y="17978"/>
                    <a:pt x="23976" y="18042"/>
                  </a:cubicBezTo>
                  <a:cubicBezTo>
                    <a:pt x="24417" y="18231"/>
                    <a:pt x="24863" y="18380"/>
                    <a:pt x="25325" y="18499"/>
                  </a:cubicBezTo>
                  <a:cubicBezTo>
                    <a:pt x="25142" y="18547"/>
                    <a:pt x="24965" y="18633"/>
                    <a:pt x="24794" y="18719"/>
                  </a:cubicBezTo>
                  <a:cubicBezTo>
                    <a:pt x="24691" y="18767"/>
                    <a:pt x="24589" y="18816"/>
                    <a:pt x="24487" y="18853"/>
                  </a:cubicBezTo>
                  <a:cubicBezTo>
                    <a:pt x="24385" y="18896"/>
                    <a:pt x="24283" y="18940"/>
                    <a:pt x="24181" y="18982"/>
                  </a:cubicBezTo>
                  <a:cubicBezTo>
                    <a:pt x="23885" y="19101"/>
                    <a:pt x="23606" y="19218"/>
                    <a:pt x="23337" y="19262"/>
                  </a:cubicBezTo>
                  <a:cubicBezTo>
                    <a:pt x="23305" y="19267"/>
                    <a:pt x="23272" y="19273"/>
                    <a:pt x="23240" y="19273"/>
                  </a:cubicBezTo>
                  <a:cubicBezTo>
                    <a:pt x="23058" y="19273"/>
                    <a:pt x="22886" y="19176"/>
                    <a:pt x="22795" y="19030"/>
                  </a:cubicBezTo>
                  <a:cubicBezTo>
                    <a:pt x="22736" y="18933"/>
                    <a:pt x="22724" y="18837"/>
                    <a:pt x="22773" y="18740"/>
                  </a:cubicBezTo>
                  <a:cubicBezTo>
                    <a:pt x="23133" y="18031"/>
                    <a:pt x="23413" y="17951"/>
                    <a:pt x="23595" y="17951"/>
                  </a:cubicBezTo>
                  <a:close/>
                  <a:moveTo>
                    <a:pt x="15206" y="1"/>
                  </a:moveTo>
                  <a:cubicBezTo>
                    <a:pt x="14603" y="1"/>
                    <a:pt x="13927" y="116"/>
                    <a:pt x="13329" y="126"/>
                  </a:cubicBezTo>
                  <a:cubicBezTo>
                    <a:pt x="12045" y="148"/>
                    <a:pt x="10761" y="206"/>
                    <a:pt x="9477" y="250"/>
                  </a:cubicBezTo>
                  <a:cubicBezTo>
                    <a:pt x="9187" y="298"/>
                    <a:pt x="8891" y="325"/>
                    <a:pt x="8601" y="352"/>
                  </a:cubicBezTo>
                  <a:cubicBezTo>
                    <a:pt x="8510" y="352"/>
                    <a:pt x="8419" y="347"/>
                    <a:pt x="8328" y="347"/>
                  </a:cubicBezTo>
                  <a:cubicBezTo>
                    <a:pt x="7812" y="325"/>
                    <a:pt x="7274" y="309"/>
                    <a:pt x="6754" y="309"/>
                  </a:cubicBezTo>
                  <a:cubicBezTo>
                    <a:pt x="6151" y="309"/>
                    <a:pt x="5631" y="335"/>
                    <a:pt x="5152" y="384"/>
                  </a:cubicBezTo>
                  <a:cubicBezTo>
                    <a:pt x="4879" y="379"/>
                    <a:pt x="4604" y="367"/>
                    <a:pt x="4331" y="362"/>
                  </a:cubicBezTo>
                  <a:cubicBezTo>
                    <a:pt x="3711" y="362"/>
                    <a:pt x="3091" y="375"/>
                    <a:pt x="2470" y="375"/>
                  </a:cubicBezTo>
                  <a:cubicBezTo>
                    <a:pt x="2032" y="375"/>
                    <a:pt x="1594" y="368"/>
                    <a:pt x="1155" y="347"/>
                  </a:cubicBezTo>
                  <a:cubicBezTo>
                    <a:pt x="1115" y="345"/>
                    <a:pt x="1077" y="344"/>
                    <a:pt x="1040" y="344"/>
                  </a:cubicBezTo>
                  <a:cubicBezTo>
                    <a:pt x="866" y="344"/>
                    <a:pt x="731" y="366"/>
                    <a:pt x="624" y="411"/>
                  </a:cubicBezTo>
                  <a:cubicBezTo>
                    <a:pt x="602" y="399"/>
                    <a:pt x="580" y="394"/>
                    <a:pt x="560" y="384"/>
                  </a:cubicBezTo>
                  <a:lnTo>
                    <a:pt x="560" y="411"/>
                  </a:lnTo>
                  <a:lnTo>
                    <a:pt x="560" y="438"/>
                  </a:lnTo>
                  <a:lnTo>
                    <a:pt x="0" y="394"/>
                  </a:lnTo>
                  <a:lnTo>
                    <a:pt x="0" y="394"/>
                  </a:lnTo>
                  <a:cubicBezTo>
                    <a:pt x="71" y="1651"/>
                    <a:pt x="414" y="3763"/>
                    <a:pt x="458" y="5020"/>
                  </a:cubicBezTo>
                  <a:cubicBezTo>
                    <a:pt x="516" y="5536"/>
                    <a:pt x="587" y="6047"/>
                    <a:pt x="694" y="6551"/>
                  </a:cubicBezTo>
                  <a:cubicBezTo>
                    <a:pt x="882" y="7453"/>
                    <a:pt x="1354" y="8238"/>
                    <a:pt x="1586" y="9124"/>
                  </a:cubicBezTo>
                  <a:cubicBezTo>
                    <a:pt x="1708" y="9603"/>
                    <a:pt x="1902" y="10037"/>
                    <a:pt x="2112" y="10473"/>
                  </a:cubicBezTo>
                  <a:cubicBezTo>
                    <a:pt x="2122" y="10483"/>
                    <a:pt x="2139" y="10495"/>
                    <a:pt x="2149" y="10510"/>
                  </a:cubicBezTo>
                  <a:cubicBezTo>
                    <a:pt x="2144" y="10510"/>
                    <a:pt x="2139" y="10515"/>
                    <a:pt x="2134" y="10521"/>
                  </a:cubicBezTo>
                  <a:cubicBezTo>
                    <a:pt x="2139" y="10527"/>
                    <a:pt x="2144" y="10537"/>
                    <a:pt x="2149" y="10548"/>
                  </a:cubicBezTo>
                  <a:cubicBezTo>
                    <a:pt x="2155" y="10537"/>
                    <a:pt x="2160" y="10527"/>
                    <a:pt x="2166" y="10515"/>
                  </a:cubicBezTo>
                  <a:cubicBezTo>
                    <a:pt x="2418" y="10612"/>
                    <a:pt x="2499" y="10785"/>
                    <a:pt x="2418" y="11031"/>
                  </a:cubicBezTo>
                  <a:cubicBezTo>
                    <a:pt x="2402" y="11026"/>
                    <a:pt x="2392" y="11021"/>
                    <a:pt x="2375" y="11016"/>
                  </a:cubicBezTo>
                  <a:lnTo>
                    <a:pt x="2375" y="11016"/>
                  </a:lnTo>
                  <a:cubicBezTo>
                    <a:pt x="2402" y="11069"/>
                    <a:pt x="2429" y="11123"/>
                    <a:pt x="2456" y="11182"/>
                  </a:cubicBezTo>
                  <a:cubicBezTo>
                    <a:pt x="2456" y="11145"/>
                    <a:pt x="2450" y="11112"/>
                    <a:pt x="2445" y="11080"/>
                  </a:cubicBezTo>
                  <a:lnTo>
                    <a:pt x="2445" y="11080"/>
                  </a:lnTo>
                  <a:cubicBezTo>
                    <a:pt x="2794" y="11219"/>
                    <a:pt x="2746" y="11467"/>
                    <a:pt x="2702" y="11720"/>
                  </a:cubicBezTo>
                  <a:cubicBezTo>
                    <a:pt x="2746" y="11827"/>
                    <a:pt x="2789" y="11934"/>
                    <a:pt x="2831" y="12047"/>
                  </a:cubicBezTo>
                  <a:cubicBezTo>
                    <a:pt x="2853" y="12117"/>
                    <a:pt x="2880" y="12186"/>
                    <a:pt x="2901" y="12256"/>
                  </a:cubicBezTo>
                  <a:cubicBezTo>
                    <a:pt x="2960" y="12320"/>
                    <a:pt x="2987" y="12402"/>
                    <a:pt x="2982" y="12493"/>
                  </a:cubicBezTo>
                  <a:cubicBezTo>
                    <a:pt x="3030" y="12648"/>
                    <a:pt x="3079" y="12804"/>
                    <a:pt x="3122" y="12965"/>
                  </a:cubicBezTo>
                  <a:cubicBezTo>
                    <a:pt x="3562" y="13783"/>
                    <a:pt x="3617" y="14663"/>
                    <a:pt x="3283" y="15549"/>
                  </a:cubicBezTo>
                  <a:cubicBezTo>
                    <a:pt x="3106" y="16275"/>
                    <a:pt x="2702" y="16935"/>
                    <a:pt x="2675" y="17688"/>
                  </a:cubicBezTo>
                  <a:cubicBezTo>
                    <a:pt x="2633" y="18714"/>
                    <a:pt x="2735" y="19875"/>
                    <a:pt x="2412" y="20862"/>
                  </a:cubicBezTo>
                  <a:cubicBezTo>
                    <a:pt x="2187" y="21544"/>
                    <a:pt x="1494" y="22801"/>
                    <a:pt x="1494" y="22801"/>
                  </a:cubicBezTo>
                  <a:cubicBezTo>
                    <a:pt x="1494" y="22801"/>
                    <a:pt x="1239" y="23372"/>
                    <a:pt x="1329" y="23372"/>
                  </a:cubicBezTo>
                  <a:cubicBezTo>
                    <a:pt x="1330" y="23372"/>
                    <a:pt x="1332" y="23372"/>
                    <a:pt x="1333" y="23371"/>
                  </a:cubicBezTo>
                  <a:lnTo>
                    <a:pt x="1333" y="23371"/>
                  </a:lnTo>
                  <a:cubicBezTo>
                    <a:pt x="1318" y="23399"/>
                    <a:pt x="1317" y="23410"/>
                    <a:pt x="1324" y="23410"/>
                  </a:cubicBezTo>
                  <a:cubicBezTo>
                    <a:pt x="1342" y="23410"/>
                    <a:pt x="1403" y="23354"/>
                    <a:pt x="1423" y="23330"/>
                  </a:cubicBezTo>
                  <a:lnTo>
                    <a:pt x="1423" y="23330"/>
                  </a:lnTo>
                  <a:cubicBezTo>
                    <a:pt x="1447" y="23334"/>
                    <a:pt x="1470" y="23334"/>
                    <a:pt x="1494" y="23334"/>
                  </a:cubicBezTo>
                  <a:cubicBezTo>
                    <a:pt x="1532" y="23334"/>
                    <a:pt x="1564" y="23334"/>
                    <a:pt x="1596" y="23329"/>
                  </a:cubicBezTo>
                  <a:cubicBezTo>
                    <a:pt x="2037" y="23237"/>
                    <a:pt x="2477" y="23162"/>
                    <a:pt x="2918" y="23086"/>
                  </a:cubicBezTo>
                  <a:cubicBezTo>
                    <a:pt x="3600" y="22969"/>
                    <a:pt x="4309" y="22845"/>
                    <a:pt x="5003" y="22684"/>
                  </a:cubicBezTo>
                  <a:cubicBezTo>
                    <a:pt x="5217" y="22635"/>
                    <a:pt x="5400" y="22608"/>
                    <a:pt x="5576" y="22608"/>
                  </a:cubicBezTo>
                  <a:cubicBezTo>
                    <a:pt x="5829" y="22608"/>
                    <a:pt x="6066" y="22662"/>
                    <a:pt x="6324" y="22776"/>
                  </a:cubicBezTo>
                  <a:cubicBezTo>
                    <a:pt x="7936" y="23505"/>
                    <a:pt x="9682" y="23860"/>
                    <a:pt x="11668" y="23860"/>
                  </a:cubicBezTo>
                  <a:cubicBezTo>
                    <a:pt x="11868" y="23860"/>
                    <a:pt x="12062" y="23860"/>
                    <a:pt x="12260" y="23850"/>
                  </a:cubicBezTo>
                  <a:cubicBezTo>
                    <a:pt x="12459" y="23844"/>
                    <a:pt x="12635" y="23726"/>
                    <a:pt x="12722" y="23549"/>
                  </a:cubicBezTo>
                  <a:cubicBezTo>
                    <a:pt x="12915" y="23151"/>
                    <a:pt x="12722" y="22840"/>
                    <a:pt x="12556" y="22657"/>
                  </a:cubicBezTo>
                  <a:cubicBezTo>
                    <a:pt x="12635" y="22587"/>
                    <a:pt x="12717" y="22511"/>
                    <a:pt x="12803" y="22437"/>
                  </a:cubicBezTo>
                  <a:cubicBezTo>
                    <a:pt x="12915" y="22329"/>
                    <a:pt x="13093" y="22168"/>
                    <a:pt x="13216" y="22082"/>
                  </a:cubicBezTo>
                  <a:cubicBezTo>
                    <a:pt x="13538" y="22313"/>
                    <a:pt x="13920" y="22394"/>
                    <a:pt x="14259" y="22469"/>
                  </a:cubicBezTo>
                  <a:cubicBezTo>
                    <a:pt x="14892" y="22603"/>
                    <a:pt x="15032" y="22672"/>
                    <a:pt x="15070" y="23086"/>
                  </a:cubicBezTo>
                  <a:cubicBezTo>
                    <a:pt x="15107" y="23543"/>
                    <a:pt x="15672" y="23973"/>
                    <a:pt x="16079" y="23973"/>
                  </a:cubicBezTo>
                  <a:lnTo>
                    <a:pt x="16225" y="23973"/>
                  </a:lnTo>
                  <a:cubicBezTo>
                    <a:pt x="16858" y="23973"/>
                    <a:pt x="17165" y="24338"/>
                    <a:pt x="17654" y="24988"/>
                  </a:cubicBezTo>
                  <a:cubicBezTo>
                    <a:pt x="17793" y="25176"/>
                    <a:pt x="17938" y="25370"/>
                    <a:pt x="18100" y="25553"/>
                  </a:cubicBezTo>
                  <a:cubicBezTo>
                    <a:pt x="18588" y="26106"/>
                    <a:pt x="19255" y="26411"/>
                    <a:pt x="19979" y="26411"/>
                  </a:cubicBezTo>
                  <a:cubicBezTo>
                    <a:pt x="20624" y="26411"/>
                    <a:pt x="21269" y="26165"/>
                    <a:pt x="21801" y="25719"/>
                  </a:cubicBezTo>
                  <a:cubicBezTo>
                    <a:pt x="22042" y="25515"/>
                    <a:pt x="22312" y="25397"/>
                    <a:pt x="22543" y="25397"/>
                  </a:cubicBezTo>
                  <a:cubicBezTo>
                    <a:pt x="22731" y="25397"/>
                    <a:pt x="22875" y="25477"/>
                    <a:pt x="22999" y="25650"/>
                  </a:cubicBezTo>
                  <a:cubicBezTo>
                    <a:pt x="23220" y="25950"/>
                    <a:pt x="23563" y="26347"/>
                    <a:pt x="24031" y="26347"/>
                  </a:cubicBezTo>
                  <a:cubicBezTo>
                    <a:pt x="24638" y="26347"/>
                    <a:pt x="24896" y="25719"/>
                    <a:pt x="25052" y="25348"/>
                  </a:cubicBezTo>
                  <a:cubicBezTo>
                    <a:pt x="25174" y="25037"/>
                    <a:pt x="25154" y="24730"/>
                    <a:pt x="25137" y="24457"/>
                  </a:cubicBezTo>
                  <a:cubicBezTo>
                    <a:pt x="25126" y="24333"/>
                    <a:pt x="25121" y="24220"/>
                    <a:pt x="25126" y="24123"/>
                  </a:cubicBezTo>
                  <a:cubicBezTo>
                    <a:pt x="25137" y="24026"/>
                    <a:pt x="25186" y="23968"/>
                    <a:pt x="25234" y="23924"/>
                  </a:cubicBezTo>
                  <a:cubicBezTo>
                    <a:pt x="25690" y="24574"/>
                    <a:pt x="26373" y="24859"/>
                    <a:pt x="26986" y="25117"/>
                  </a:cubicBezTo>
                  <a:cubicBezTo>
                    <a:pt x="27732" y="25429"/>
                    <a:pt x="28204" y="25650"/>
                    <a:pt x="28404" y="26240"/>
                  </a:cubicBezTo>
                  <a:cubicBezTo>
                    <a:pt x="28533" y="26605"/>
                    <a:pt x="28823" y="26820"/>
                    <a:pt x="29188" y="26820"/>
                  </a:cubicBezTo>
                  <a:cubicBezTo>
                    <a:pt x="29446" y="26820"/>
                    <a:pt x="29677" y="26713"/>
                    <a:pt x="29833" y="26627"/>
                  </a:cubicBezTo>
                  <a:cubicBezTo>
                    <a:pt x="30138" y="26466"/>
                    <a:pt x="30445" y="26304"/>
                    <a:pt x="30805" y="26121"/>
                  </a:cubicBezTo>
                  <a:lnTo>
                    <a:pt x="31342" y="25843"/>
                  </a:lnTo>
                  <a:cubicBezTo>
                    <a:pt x="31524" y="25751"/>
                    <a:pt x="31632" y="25563"/>
                    <a:pt x="31632" y="25365"/>
                  </a:cubicBezTo>
                  <a:cubicBezTo>
                    <a:pt x="31627" y="25161"/>
                    <a:pt x="31514" y="24978"/>
                    <a:pt x="31331" y="24891"/>
                  </a:cubicBezTo>
                  <a:cubicBezTo>
                    <a:pt x="30923" y="24693"/>
                    <a:pt x="30520" y="24526"/>
                    <a:pt x="30133" y="24370"/>
                  </a:cubicBezTo>
                  <a:cubicBezTo>
                    <a:pt x="29230" y="24006"/>
                    <a:pt x="28452" y="23688"/>
                    <a:pt x="27844" y="23081"/>
                  </a:cubicBezTo>
                  <a:cubicBezTo>
                    <a:pt x="27517" y="22754"/>
                    <a:pt x="27517" y="22630"/>
                    <a:pt x="27517" y="22630"/>
                  </a:cubicBezTo>
                  <a:cubicBezTo>
                    <a:pt x="27522" y="22608"/>
                    <a:pt x="27576" y="22533"/>
                    <a:pt x="27753" y="22426"/>
                  </a:cubicBezTo>
                  <a:cubicBezTo>
                    <a:pt x="28172" y="22173"/>
                    <a:pt x="28462" y="21814"/>
                    <a:pt x="28720" y="21502"/>
                  </a:cubicBezTo>
                  <a:cubicBezTo>
                    <a:pt x="28984" y="21179"/>
                    <a:pt x="29210" y="20900"/>
                    <a:pt x="29532" y="20755"/>
                  </a:cubicBezTo>
                  <a:cubicBezTo>
                    <a:pt x="30165" y="20470"/>
                    <a:pt x="30326" y="19927"/>
                    <a:pt x="30004" y="19144"/>
                  </a:cubicBezTo>
                  <a:cubicBezTo>
                    <a:pt x="29983" y="19089"/>
                    <a:pt x="29951" y="19004"/>
                    <a:pt x="29945" y="18977"/>
                  </a:cubicBezTo>
                  <a:cubicBezTo>
                    <a:pt x="29865" y="18547"/>
                    <a:pt x="29542" y="18268"/>
                    <a:pt x="29123" y="18268"/>
                  </a:cubicBezTo>
                  <a:cubicBezTo>
                    <a:pt x="29005" y="18268"/>
                    <a:pt x="28887" y="18295"/>
                    <a:pt x="28779" y="18327"/>
                  </a:cubicBezTo>
                  <a:cubicBezTo>
                    <a:pt x="28720" y="18370"/>
                    <a:pt x="28655" y="18407"/>
                    <a:pt x="28597" y="18450"/>
                  </a:cubicBezTo>
                  <a:cubicBezTo>
                    <a:pt x="28392" y="18606"/>
                    <a:pt x="28194" y="18719"/>
                    <a:pt x="28006" y="18789"/>
                  </a:cubicBezTo>
                  <a:cubicBezTo>
                    <a:pt x="27534" y="19154"/>
                    <a:pt x="27044" y="19552"/>
                    <a:pt x="26550" y="19971"/>
                  </a:cubicBezTo>
                  <a:cubicBezTo>
                    <a:pt x="26528" y="19992"/>
                    <a:pt x="26513" y="20004"/>
                    <a:pt x="26491" y="20019"/>
                  </a:cubicBezTo>
                  <a:cubicBezTo>
                    <a:pt x="26560" y="19369"/>
                    <a:pt x="26491" y="18977"/>
                    <a:pt x="26255" y="18714"/>
                  </a:cubicBezTo>
                  <a:cubicBezTo>
                    <a:pt x="26250" y="18703"/>
                    <a:pt x="26238" y="18692"/>
                    <a:pt x="26228" y="18687"/>
                  </a:cubicBezTo>
                  <a:cubicBezTo>
                    <a:pt x="26180" y="18665"/>
                    <a:pt x="26131" y="18643"/>
                    <a:pt x="26083" y="18611"/>
                  </a:cubicBezTo>
                  <a:cubicBezTo>
                    <a:pt x="25910" y="18514"/>
                    <a:pt x="25809" y="18321"/>
                    <a:pt x="25819" y="18122"/>
                  </a:cubicBezTo>
                  <a:cubicBezTo>
                    <a:pt x="25819" y="18102"/>
                    <a:pt x="25830" y="18085"/>
                    <a:pt x="25830" y="18063"/>
                  </a:cubicBezTo>
                  <a:cubicBezTo>
                    <a:pt x="26002" y="18095"/>
                    <a:pt x="26180" y="18128"/>
                    <a:pt x="26351" y="18155"/>
                  </a:cubicBezTo>
                  <a:cubicBezTo>
                    <a:pt x="26475" y="18095"/>
                    <a:pt x="26599" y="18042"/>
                    <a:pt x="26716" y="17988"/>
                  </a:cubicBezTo>
                  <a:lnTo>
                    <a:pt x="26728" y="17978"/>
                  </a:lnTo>
                  <a:cubicBezTo>
                    <a:pt x="26711" y="17870"/>
                    <a:pt x="26701" y="17725"/>
                    <a:pt x="26689" y="17586"/>
                  </a:cubicBezTo>
                  <a:cubicBezTo>
                    <a:pt x="26669" y="17360"/>
                    <a:pt x="26647" y="17145"/>
                    <a:pt x="26572" y="17123"/>
                  </a:cubicBezTo>
                  <a:cubicBezTo>
                    <a:pt x="25749" y="16909"/>
                    <a:pt x="25573" y="16446"/>
                    <a:pt x="25556" y="15920"/>
                  </a:cubicBezTo>
                  <a:lnTo>
                    <a:pt x="25556" y="15818"/>
                  </a:lnTo>
                  <a:cubicBezTo>
                    <a:pt x="25556" y="15710"/>
                    <a:pt x="25567" y="15603"/>
                    <a:pt x="25573" y="15491"/>
                  </a:cubicBezTo>
                  <a:cubicBezTo>
                    <a:pt x="25583" y="15345"/>
                    <a:pt x="25593" y="15201"/>
                    <a:pt x="25600" y="15060"/>
                  </a:cubicBezTo>
                  <a:cubicBezTo>
                    <a:pt x="25600" y="15023"/>
                    <a:pt x="25605" y="14986"/>
                    <a:pt x="25605" y="14953"/>
                  </a:cubicBezTo>
                  <a:cubicBezTo>
                    <a:pt x="25605" y="14668"/>
                    <a:pt x="25573" y="14400"/>
                    <a:pt x="25432" y="14169"/>
                  </a:cubicBezTo>
                  <a:cubicBezTo>
                    <a:pt x="25406" y="14131"/>
                    <a:pt x="25395" y="14093"/>
                    <a:pt x="25390" y="14056"/>
                  </a:cubicBezTo>
                  <a:cubicBezTo>
                    <a:pt x="25368" y="13793"/>
                    <a:pt x="25825" y="13599"/>
                    <a:pt x="25932" y="13320"/>
                  </a:cubicBezTo>
                  <a:cubicBezTo>
                    <a:pt x="25916" y="13316"/>
                    <a:pt x="25898" y="13315"/>
                    <a:pt x="25879" y="13315"/>
                  </a:cubicBezTo>
                  <a:cubicBezTo>
                    <a:pt x="25854" y="13315"/>
                    <a:pt x="25828" y="13317"/>
                    <a:pt x="25803" y="13317"/>
                  </a:cubicBezTo>
                  <a:cubicBezTo>
                    <a:pt x="25731" y="13317"/>
                    <a:pt x="25666" y="13303"/>
                    <a:pt x="25653" y="13196"/>
                  </a:cubicBezTo>
                  <a:cubicBezTo>
                    <a:pt x="24492" y="13260"/>
                    <a:pt x="23332" y="13347"/>
                    <a:pt x="22166" y="13369"/>
                  </a:cubicBezTo>
                  <a:cubicBezTo>
                    <a:pt x="21929" y="13374"/>
                    <a:pt x="21670" y="13464"/>
                    <a:pt x="21423" y="13464"/>
                  </a:cubicBezTo>
                  <a:cubicBezTo>
                    <a:pt x="21218" y="13464"/>
                    <a:pt x="21021" y="13402"/>
                    <a:pt x="20850" y="13180"/>
                  </a:cubicBezTo>
                  <a:lnTo>
                    <a:pt x="18712" y="13186"/>
                  </a:lnTo>
                  <a:cubicBezTo>
                    <a:pt x="18048" y="13615"/>
                    <a:pt x="17332" y="13679"/>
                    <a:pt x="16608" y="13679"/>
                  </a:cubicBezTo>
                  <a:cubicBezTo>
                    <a:pt x="16296" y="13679"/>
                    <a:pt x="15982" y="13667"/>
                    <a:pt x="15670" y="13667"/>
                  </a:cubicBezTo>
                  <a:cubicBezTo>
                    <a:pt x="15482" y="13667"/>
                    <a:pt x="15294" y="13672"/>
                    <a:pt x="15107" y="13686"/>
                  </a:cubicBezTo>
                  <a:cubicBezTo>
                    <a:pt x="14914" y="13557"/>
                    <a:pt x="14802" y="13369"/>
                    <a:pt x="14737" y="13175"/>
                  </a:cubicBezTo>
                  <a:lnTo>
                    <a:pt x="14737" y="13126"/>
                  </a:lnTo>
                  <a:cubicBezTo>
                    <a:pt x="14827" y="11452"/>
                    <a:pt x="15166" y="9842"/>
                    <a:pt x="16034" y="8382"/>
                  </a:cubicBezTo>
                  <a:lnTo>
                    <a:pt x="16034" y="8382"/>
                  </a:lnTo>
                  <a:cubicBezTo>
                    <a:pt x="16033" y="8383"/>
                    <a:pt x="16032" y="8383"/>
                    <a:pt x="16032" y="8383"/>
                  </a:cubicBezTo>
                  <a:cubicBezTo>
                    <a:pt x="16096" y="7808"/>
                    <a:pt x="16252" y="7292"/>
                    <a:pt x="16837" y="7029"/>
                  </a:cubicBezTo>
                  <a:cubicBezTo>
                    <a:pt x="16961" y="6342"/>
                    <a:pt x="16676" y="5477"/>
                    <a:pt x="17654" y="5154"/>
                  </a:cubicBezTo>
                  <a:cubicBezTo>
                    <a:pt x="18147" y="4805"/>
                    <a:pt x="17869" y="4294"/>
                    <a:pt x="17896" y="3848"/>
                  </a:cubicBezTo>
                  <a:cubicBezTo>
                    <a:pt x="17567" y="3790"/>
                    <a:pt x="17579" y="3558"/>
                    <a:pt x="17626" y="3307"/>
                  </a:cubicBezTo>
                  <a:cubicBezTo>
                    <a:pt x="17535" y="3242"/>
                    <a:pt x="17412" y="3183"/>
                    <a:pt x="17391" y="3102"/>
                  </a:cubicBezTo>
                  <a:cubicBezTo>
                    <a:pt x="17165" y="2140"/>
                    <a:pt x="17116" y="883"/>
                    <a:pt x="16445" y="335"/>
                  </a:cubicBezTo>
                  <a:cubicBezTo>
                    <a:pt x="16434" y="277"/>
                    <a:pt x="16424" y="218"/>
                    <a:pt x="16413" y="158"/>
                  </a:cubicBezTo>
                  <a:cubicBezTo>
                    <a:pt x="16369" y="185"/>
                    <a:pt x="16322" y="201"/>
                    <a:pt x="16278" y="223"/>
                  </a:cubicBezTo>
                  <a:cubicBezTo>
                    <a:pt x="15983" y="53"/>
                    <a:pt x="15611" y="1"/>
                    <a:pt x="15206"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LA</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51" name="Google Shape;1149;p29">
              <a:extLst>
                <a:ext uri="{FF2B5EF4-FFF2-40B4-BE49-F238E27FC236}">
                  <a16:creationId xmlns:a16="http://schemas.microsoft.com/office/drawing/2014/main" id="{23803960-B04E-9A58-A010-D006A24C459E}"/>
                </a:ext>
              </a:extLst>
            </p:cNvPr>
            <p:cNvSpPr/>
            <p:nvPr/>
          </p:nvSpPr>
          <p:spPr>
            <a:xfrm>
              <a:off x="2338650" y="3105175"/>
              <a:ext cx="1914550" cy="1859725"/>
            </a:xfrm>
            <a:custGeom>
              <a:avLst/>
              <a:gdLst/>
              <a:ahLst/>
              <a:cxnLst/>
              <a:rect l="l" t="t" r="r" b="b"/>
              <a:pathLst>
                <a:path w="76582" h="74389" extrusionOk="0">
                  <a:moveTo>
                    <a:pt x="24033" y="0"/>
                  </a:moveTo>
                  <a:cubicBezTo>
                    <a:pt x="24008" y="0"/>
                    <a:pt x="23984" y="1"/>
                    <a:pt x="23960" y="1"/>
                  </a:cubicBezTo>
                  <a:cubicBezTo>
                    <a:pt x="23885" y="44"/>
                    <a:pt x="23826" y="91"/>
                    <a:pt x="23767" y="145"/>
                  </a:cubicBezTo>
                  <a:cubicBezTo>
                    <a:pt x="23757" y="140"/>
                    <a:pt x="23740" y="140"/>
                    <a:pt x="23729" y="135"/>
                  </a:cubicBezTo>
                  <a:cubicBezTo>
                    <a:pt x="23724" y="156"/>
                    <a:pt x="23724" y="178"/>
                    <a:pt x="23719" y="200"/>
                  </a:cubicBezTo>
                  <a:cubicBezTo>
                    <a:pt x="23251" y="747"/>
                    <a:pt x="23655" y="1698"/>
                    <a:pt x="23321" y="2268"/>
                  </a:cubicBezTo>
                  <a:cubicBezTo>
                    <a:pt x="23278" y="2880"/>
                    <a:pt x="23236" y="3492"/>
                    <a:pt x="23192" y="4105"/>
                  </a:cubicBezTo>
                  <a:cubicBezTo>
                    <a:pt x="23139" y="4846"/>
                    <a:pt x="23085" y="5588"/>
                    <a:pt x="23031" y="6324"/>
                  </a:cubicBezTo>
                  <a:lnTo>
                    <a:pt x="23031" y="6329"/>
                  </a:lnTo>
                  <a:cubicBezTo>
                    <a:pt x="22655" y="7968"/>
                    <a:pt x="22956" y="9686"/>
                    <a:pt x="22510" y="11320"/>
                  </a:cubicBezTo>
                  <a:cubicBezTo>
                    <a:pt x="22478" y="11744"/>
                    <a:pt x="22450" y="12163"/>
                    <a:pt x="22423" y="12587"/>
                  </a:cubicBezTo>
                  <a:cubicBezTo>
                    <a:pt x="22172" y="16262"/>
                    <a:pt x="21994" y="19942"/>
                    <a:pt x="21436" y="23596"/>
                  </a:cubicBezTo>
                  <a:lnTo>
                    <a:pt x="21436" y="25007"/>
                  </a:lnTo>
                  <a:cubicBezTo>
                    <a:pt x="21290" y="26598"/>
                    <a:pt x="21070" y="28188"/>
                    <a:pt x="21027" y="29784"/>
                  </a:cubicBezTo>
                  <a:cubicBezTo>
                    <a:pt x="21022" y="29966"/>
                    <a:pt x="21005" y="30117"/>
                    <a:pt x="20973" y="30241"/>
                  </a:cubicBezTo>
                  <a:cubicBezTo>
                    <a:pt x="20779" y="30531"/>
                    <a:pt x="20511" y="30719"/>
                    <a:pt x="20125" y="30821"/>
                  </a:cubicBezTo>
                  <a:cubicBezTo>
                    <a:pt x="20006" y="30821"/>
                    <a:pt x="19872" y="30809"/>
                    <a:pt x="19722" y="30799"/>
                  </a:cubicBezTo>
                  <a:cubicBezTo>
                    <a:pt x="14372" y="30256"/>
                    <a:pt x="9021" y="29757"/>
                    <a:pt x="3664" y="29274"/>
                  </a:cubicBezTo>
                  <a:cubicBezTo>
                    <a:pt x="3242" y="29236"/>
                    <a:pt x="2818" y="29226"/>
                    <a:pt x="2392" y="29226"/>
                  </a:cubicBezTo>
                  <a:cubicBezTo>
                    <a:pt x="1950" y="29226"/>
                    <a:pt x="1507" y="29237"/>
                    <a:pt x="1063" y="29237"/>
                  </a:cubicBezTo>
                  <a:cubicBezTo>
                    <a:pt x="1015" y="29237"/>
                    <a:pt x="967" y="29237"/>
                    <a:pt x="919" y="29236"/>
                  </a:cubicBezTo>
                  <a:cubicBezTo>
                    <a:pt x="817" y="29225"/>
                    <a:pt x="710" y="29214"/>
                    <a:pt x="623" y="29214"/>
                  </a:cubicBezTo>
                  <a:cubicBezTo>
                    <a:pt x="511" y="29214"/>
                    <a:pt x="435" y="29214"/>
                    <a:pt x="387" y="29321"/>
                  </a:cubicBezTo>
                  <a:cubicBezTo>
                    <a:pt x="306" y="29370"/>
                    <a:pt x="237" y="29440"/>
                    <a:pt x="194" y="29542"/>
                  </a:cubicBezTo>
                  <a:cubicBezTo>
                    <a:pt x="140" y="29681"/>
                    <a:pt x="194" y="29822"/>
                    <a:pt x="301" y="29907"/>
                  </a:cubicBezTo>
                  <a:cubicBezTo>
                    <a:pt x="247" y="30095"/>
                    <a:pt x="140" y="30246"/>
                    <a:pt x="1" y="30348"/>
                  </a:cubicBezTo>
                  <a:cubicBezTo>
                    <a:pt x="70" y="30397"/>
                    <a:pt x="145" y="30444"/>
                    <a:pt x="231" y="30477"/>
                  </a:cubicBezTo>
                  <a:cubicBezTo>
                    <a:pt x="678" y="30633"/>
                    <a:pt x="892" y="30982"/>
                    <a:pt x="1204" y="31540"/>
                  </a:cubicBezTo>
                  <a:cubicBezTo>
                    <a:pt x="1382" y="31858"/>
                    <a:pt x="1563" y="32185"/>
                    <a:pt x="1838" y="32475"/>
                  </a:cubicBezTo>
                  <a:cubicBezTo>
                    <a:pt x="2461" y="33142"/>
                    <a:pt x="3058" y="33861"/>
                    <a:pt x="3643" y="34555"/>
                  </a:cubicBezTo>
                  <a:cubicBezTo>
                    <a:pt x="4985" y="36160"/>
                    <a:pt x="6378" y="37821"/>
                    <a:pt x="8193" y="39067"/>
                  </a:cubicBezTo>
                  <a:cubicBezTo>
                    <a:pt x="8843" y="39512"/>
                    <a:pt x="9047" y="40216"/>
                    <a:pt x="9289" y="41027"/>
                  </a:cubicBezTo>
                  <a:cubicBezTo>
                    <a:pt x="9455" y="41587"/>
                    <a:pt x="9622" y="42172"/>
                    <a:pt x="9961" y="42693"/>
                  </a:cubicBezTo>
                  <a:cubicBezTo>
                    <a:pt x="9949" y="42736"/>
                    <a:pt x="9934" y="42779"/>
                    <a:pt x="9923" y="42812"/>
                  </a:cubicBezTo>
                  <a:lnTo>
                    <a:pt x="9901" y="42876"/>
                  </a:lnTo>
                  <a:cubicBezTo>
                    <a:pt x="9472" y="44235"/>
                    <a:pt x="9929" y="45567"/>
                    <a:pt x="11201" y="46636"/>
                  </a:cubicBezTo>
                  <a:cubicBezTo>
                    <a:pt x="13517" y="48587"/>
                    <a:pt x="15510" y="50000"/>
                    <a:pt x="17476" y="51079"/>
                  </a:cubicBezTo>
                  <a:cubicBezTo>
                    <a:pt x="17868" y="51294"/>
                    <a:pt x="18228" y="51401"/>
                    <a:pt x="18588" y="51401"/>
                  </a:cubicBezTo>
                  <a:cubicBezTo>
                    <a:pt x="19110" y="51401"/>
                    <a:pt x="19604" y="51170"/>
                    <a:pt x="20109" y="50704"/>
                  </a:cubicBezTo>
                  <a:cubicBezTo>
                    <a:pt x="20801" y="50064"/>
                    <a:pt x="21097" y="49291"/>
                    <a:pt x="21387" y="48549"/>
                  </a:cubicBezTo>
                  <a:cubicBezTo>
                    <a:pt x="21511" y="48232"/>
                    <a:pt x="21624" y="47937"/>
                    <a:pt x="21768" y="47657"/>
                  </a:cubicBezTo>
                  <a:cubicBezTo>
                    <a:pt x="21838" y="47518"/>
                    <a:pt x="21892" y="47372"/>
                    <a:pt x="21946" y="47233"/>
                  </a:cubicBezTo>
                  <a:cubicBezTo>
                    <a:pt x="22037" y="47007"/>
                    <a:pt x="22101" y="46868"/>
                    <a:pt x="22160" y="46776"/>
                  </a:cubicBezTo>
                  <a:cubicBezTo>
                    <a:pt x="22359" y="46717"/>
                    <a:pt x="22559" y="46668"/>
                    <a:pt x="22757" y="46631"/>
                  </a:cubicBezTo>
                  <a:cubicBezTo>
                    <a:pt x="22956" y="46631"/>
                    <a:pt x="23133" y="46598"/>
                    <a:pt x="23300" y="46551"/>
                  </a:cubicBezTo>
                  <a:cubicBezTo>
                    <a:pt x="23519" y="46528"/>
                    <a:pt x="23736" y="46516"/>
                    <a:pt x="23952" y="46516"/>
                  </a:cubicBezTo>
                  <a:cubicBezTo>
                    <a:pt x="28004" y="46516"/>
                    <a:pt x="31442" y="50471"/>
                    <a:pt x="33432" y="53776"/>
                  </a:cubicBezTo>
                  <a:cubicBezTo>
                    <a:pt x="33925" y="54592"/>
                    <a:pt x="34495" y="55306"/>
                    <a:pt x="35086" y="55990"/>
                  </a:cubicBezTo>
                  <a:cubicBezTo>
                    <a:pt x="35968" y="57627"/>
                    <a:pt x="37042" y="59149"/>
                    <a:pt x="38105" y="60631"/>
                  </a:cubicBezTo>
                  <a:lnTo>
                    <a:pt x="38396" y="61039"/>
                  </a:lnTo>
                  <a:cubicBezTo>
                    <a:pt x="38514" y="61205"/>
                    <a:pt x="38669" y="61410"/>
                    <a:pt x="38869" y="61560"/>
                  </a:cubicBezTo>
                  <a:cubicBezTo>
                    <a:pt x="38981" y="61936"/>
                    <a:pt x="39100" y="62301"/>
                    <a:pt x="39256" y="62630"/>
                  </a:cubicBezTo>
                  <a:cubicBezTo>
                    <a:pt x="39519" y="63193"/>
                    <a:pt x="39819" y="63731"/>
                    <a:pt x="40131" y="64262"/>
                  </a:cubicBezTo>
                  <a:cubicBezTo>
                    <a:pt x="40635" y="66357"/>
                    <a:pt x="41533" y="68162"/>
                    <a:pt x="42311" y="69560"/>
                  </a:cubicBezTo>
                  <a:lnTo>
                    <a:pt x="42355" y="69635"/>
                  </a:lnTo>
                  <a:cubicBezTo>
                    <a:pt x="42494" y="69893"/>
                    <a:pt x="42683" y="70237"/>
                    <a:pt x="43112" y="70386"/>
                  </a:cubicBezTo>
                  <a:cubicBezTo>
                    <a:pt x="43945" y="70677"/>
                    <a:pt x="44724" y="71085"/>
                    <a:pt x="45546" y="71515"/>
                  </a:cubicBezTo>
                  <a:cubicBezTo>
                    <a:pt x="46824" y="72181"/>
                    <a:pt x="48145" y="72868"/>
                    <a:pt x="49688" y="73089"/>
                  </a:cubicBezTo>
                  <a:cubicBezTo>
                    <a:pt x="50756" y="73245"/>
                    <a:pt x="51633" y="73411"/>
                    <a:pt x="52342" y="74046"/>
                  </a:cubicBezTo>
                  <a:cubicBezTo>
                    <a:pt x="52600" y="74276"/>
                    <a:pt x="52852" y="74388"/>
                    <a:pt x="53104" y="74388"/>
                  </a:cubicBezTo>
                  <a:cubicBezTo>
                    <a:pt x="53599" y="74388"/>
                    <a:pt x="53851" y="73981"/>
                    <a:pt x="54002" y="73739"/>
                  </a:cubicBezTo>
                  <a:cubicBezTo>
                    <a:pt x="54039" y="73674"/>
                    <a:pt x="54093" y="73589"/>
                    <a:pt x="54131" y="73545"/>
                  </a:cubicBezTo>
                  <a:cubicBezTo>
                    <a:pt x="54592" y="73443"/>
                    <a:pt x="54748" y="73191"/>
                    <a:pt x="54802" y="72992"/>
                  </a:cubicBezTo>
                  <a:cubicBezTo>
                    <a:pt x="54921" y="72541"/>
                    <a:pt x="54555" y="72208"/>
                    <a:pt x="54373" y="72052"/>
                  </a:cubicBezTo>
                  <a:cubicBezTo>
                    <a:pt x="53835" y="71306"/>
                    <a:pt x="53664" y="70413"/>
                    <a:pt x="53481" y="69463"/>
                  </a:cubicBezTo>
                  <a:cubicBezTo>
                    <a:pt x="53384" y="68936"/>
                    <a:pt x="53271" y="68400"/>
                    <a:pt x="53104" y="67872"/>
                  </a:cubicBezTo>
                  <a:cubicBezTo>
                    <a:pt x="53201" y="67577"/>
                    <a:pt x="53277" y="67249"/>
                    <a:pt x="53303" y="66900"/>
                  </a:cubicBezTo>
                  <a:cubicBezTo>
                    <a:pt x="53481" y="64686"/>
                    <a:pt x="54942" y="62146"/>
                    <a:pt x="55774" y="60121"/>
                  </a:cubicBezTo>
                  <a:cubicBezTo>
                    <a:pt x="56779" y="57692"/>
                    <a:pt x="59492" y="57337"/>
                    <a:pt x="61184" y="55651"/>
                  </a:cubicBezTo>
                  <a:cubicBezTo>
                    <a:pt x="61227" y="55629"/>
                    <a:pt x="61271" y="55608"/>
                    <a:pt x="61297" y="55597"/>
                  </a:cubicBezTo>
                  <a:cubicBezTo>
                    <a:pt x="63011" y="55016"/>
                    <a:pt x="64778" y="54416"/>
                    <a:pt x="66057" y="53099"/>
                  </a:cubicBezTo>
                  <a:cubicBezTo>
                    <a:pt x="66272" y="52879"/>
                    <a:pt x="66535" y="52663"/>
                    <a:pt x="66820" y="52433"/>
                  </a:cubicBezTo>
                  <a:cubicBezTo>
                    <a:pt x="67819" y="51627"/>
                    <a:pt x="69183" y="50526"/>
                    <a:pt x="68447" y="48425"/>
                  </a:cubicBezTo>
                  <a:cubicBezTo>
                    <a:pt x="68427" y="48361"/>
                    <a:pt x="68427" y="48329"/>
                    <a:pt x="68420" y="48329"/>
                  </a:cubicBezTo>
                  <a:cubicBezTo>
                    <a:pt x="68469" y="48264"/>
                    <a:pt x="68710" y="48168"/>
                    <a:pt x="68839" y="48113"/>
                  </a:cubicBezTo>
                  <a:cubicBezTo>
                    <a:pt x="68893" y="48093"/>
                    <a:pt x="68942" y="48071"/>
                    <a:pt x="68995" y="48049"/>
                  </a:cubicBezTo>
                  <a:cubicBezTo>
                    <a:pt x="69119" y="49204"/>
                    <a:pt x="69942" y="49301"/>
                    <a:pt x="70205" y="49301"/>
                  </a:cubicBezTo>
                  <a:cubicBezTo>
                    <a:pt x="70683" y="49301"/>
                    <a:pt x="71160" y="49060"/>
                    <a:pt x="71418" y="48931"/>
                  </a:cubicBezTo>
                  <a:cubicBezTo>
                    <a:pt x="72198" y="48538"/>
                    <a:pt x="73057" y="48254"/>
                    <a:pt x="74207" y="48006"/>
                  </a:cubicBezTo>
                  <a:cubicBezTo>
                    <a:pt x="74266" y="47996"/>
                    <a:pt x="74325" y="47969"/>
                    <a:pt x="74378" y="47937"/>
                  </a:cubicBezTo>
                  <a:cubicBezTo>
                    <a:pt x="74454" y="47883"/>
                    <a:pt x="74459" y="47409"/>
                    <a:pt x="74459" y="47409"/>
                  </a:cubicBezTo>
                  <a:cubicBezTo>
                    <a:pt x="74797" y="46776"/>
                    <a:pt x="75152" y="46152"/>
                    <a:pt x="75377" y="45470"/>
                  </a:cubicBezTo>
                  <a:cubicBezTo>
                    <a:pt x="75700" y="44483"/>
                    <a:pt x="75598" y="43322"/>
                    <a:pt x="75640" y="42296"/>
                  </a:cubicBezTo>
                  <a:cubicBezTo>
                    <a:pt x="75667" y="41543"/>
                    <a:pt x="76071" y="40883"/>
                    <a:pt x="76248" y="40157"/>
                  </a:cubicBezTo>
                  <a:cubicBezTo>
                    <a:pt x="76582" y="39271"/>
                    <a:pt x="76527" y="38391"/>
                    <a:pt x="76087" y="37573"/>
                  </a:cubicBezTo>
                  <a:cubicBezTo>
                    <a:pt x="76044" y="37412"/>
                    <a:pt x="75995" y="37256"/>
                    <a:pt x="75947" y="37101"/>
                  </a:cubicBezTo>
                  <a:cubicBezTo>
                    <a:pt x="75952" y="37010"/>
                    <a:pt x="75925" y="36928"/>
                    <a:pt x="75866" y="36864"/>
                  </a:cubicBezTo>
                  <a:cubicBezTo>
                    <a:pt x="75845" y="36794"/>
                    <a:pt x="75818" y="36725"/>
                    <a:pt x="75796" y="36655"/>
                  </a:cubicBezTo>
                  <a:cubicBezTo>
                    <a:pt x="75754" y="36542"/>
                    <a:pt x="75711" y="36435"/>
                    <a:pt x="75667" y="36328"/>
                  </a:cubicBezTo>
                  <a:cubicBezTo>
                    <a:pt x="75711" y="36075"/>
                    <a:pt x="75759" y="35827"/>
                    <a:pt x="75410" y="35688"/>
                  </a:cubicBezTo>
                  <a:lnTo>
                    <a:pt x="75410" y="35688"/>
                  </a:lnTo>
                  <a:cubicBezTo>
                    <a:pt x="75415" y="35720"/>
                    <a:pt x="75421" y="35753"/>
                    <a:pt x="75421" y="35790"/>
                  </a:cubicBezTo>
                  <a:cubicBezTo>
                    <a:pt x="75394" y="35731"/>
                    <a:pt x="75367" y="35677"/>
                    <a:pt x="75340" y="35624"/>
                  </a:cubicBezTo>
                  <a:lnTo>
                    <a:pt x="75340" y="35624"/>
                  </a:lnTo>
                  <a:cubicBezTo>
                    <a:pt x="75357" y="35629"/>
                    <a:pt x="75367" y="35634"/>
                    <a:pt x="75383" y="35639"/>
                  </a:cubicBezTo>
                  <a:cubicBezTo>
                    <a:pt x="75464" y="35393"/>
                    <a:pt x="75383" y="35220"/>
                    <a:pt x="75131" y="35123"/>
                  </a:cubicBezTo>
                  <a:cubicBezTo>
                    <a:pt x="75125" y="35135"/>
                    <a:pt x="75120" y="35145"/>
                    <a:pt x="75114" y="35156"/>
                  </a:cubicBezTo>
                  <a:cubicBezTo>
                    <a:pt x="75109" y="35145"/>
                    <a:pt x="75104" y="35135"/>
                    <a:pt x="75099" y="35129"/>
                  </a:cubicBezTo>
                  <a:cubicBezTo>
                    <a:pt x="75104" y="35123"/>
                    <a:pt x="75109" y="35118"/>
                    <a:pt x="75114" y="35118"/>
                  </a:cubicBezTo>
                  <a:cubicBezTo>
                    <a:pt x="75104" y="35103"/>
                    <a:pt x="75087" y="35091"/>
                    <a:pt x="75077" y="35081"/>
                  </a:cubicBezTo>
                  <a:cubicBezTo>
                    <a:pt x="74867" y="34645"/>
                    <a:pt x="74673" y="34211"/>
                    <a:pt x="74551" y="33732"/>
                  </a:cubicBezTo>
                  <a:cubicBezTo>
                    <a:pt x="74319" y="32846"/>
                    <a:pt x="73847" y="32061"/>
                    <a:pt x="73659" y="31159"/>
                  </a:cubicBezTo>
                  <a:cubicBezTo>
                    <a:pt x="73552" y="30655"/>
                    <a:pt x="73481" y="30144"/>
                    <a:pt x="73423" y="29628"/>
                  </a:cubicBezTo>
                  <a:cubicBezTo>
                    <a:pt x="73379" y="28371"/>
                    <a:pt x="73036" y="26259"/>
                    <a:pt x="72965" y="25002"/>
                  </a:cubicBezTo>
                  <a:cubicBezTo>
                    <a:pt x="72959" y="24888"/>
                    <a:pt x="72982" y="24848"/>
                    <a:pt x="73021" y="24848"/>
                  </a:cubicBezTo>
                  <a:cubicBezTo>
                    <a:pt x="73114" y="24848"/>
                    <a:pt x="73301" y="25065"/>
                    <a:pt x="73454" y="25065"/>
                  </a:cubicBezTo>
                  <a:cubicBezTo>
                    <a:pt x="73479" y="25065"/>
                    <a:pt x="73502" y="25059"/>
                    <a:pt x="73525" y="25046"/>
                  </a:cubicBezTo>
                  <a:lnTo>
                    <a:pt x="73525" y="25019"/>
                  </a:lnTo>
                  <a:lnTo>
                    <a:pt x="73525" y="24992"/>
                  </a:lnTo>
                  <a:cubicBezTo>
                    <a:pt x="73277" y="24878"/>
                    <a:pt x="73111" y="24712"/>
                    <a:pt x="72992" y="24487"/>
                  </a:cubicBezTo>
                  <a:lnTo>
                    <a:pt x="72992" y="23197"/>
                  </a:lnTo>
                  <a:cubicBezTo>
                    <a:pt x="72992" y="22795"/>
                    <a:pt x="72923" y="22381"/>
                    <a:pt x="73014" y="21999"/>
                  </a:cubicBezTo>
                  <a:cubicBezTo>
                    <a:pt x="73057" y="21816"/>
                    <a:pt x="73004" y="21597"/>
                    <a:pt x="72939" y="21409"/>
                  </a:cubicBezTo>
                  <a:cubicBezTo>
                    <a:pt x="72213" y="20791"/>
                    <a:pt x="71224" y="20613"/>
                    <a:pt x="70285" y="20581"/>
                  </a:cubicBezTo>
                  <a:cubicBezTo>
                    <a:pt x="70252" y="20619"/>
                    <a:pt x="70199" y="20646"/>
                    <a:pt x="70113" y="20662"/>
                  </a:cubicBezTo>
                  <a:cubicBezTo>
                    <a:pt x="70089" y="20665"/>
                    <a:pt x="70066" y="20666"/>
                    <a:pt x="70043" y="20666"/>
                  </a:cubicBezTo>
                  <a:cubicBezTo>
                    <a:pt x="70020" y="20666"/>
                    <a:pt x="69998" y="20665"/>
                    <a:pt x="69974" y="20662"/>
                  </a:cubicBezTo>
                  <a:cubicBezTo>
                    <a:pt x="69806" y="20651"/>
                    <a:pt x="69667" y="20566"/>
                    <a:pt x="69592" y="20405"/>
                  </a:cubicBezTo>
                  <a:cubicBezTo>
                    <a:pt x="69329" y="20296"/>
                    <a:pt x="69097" y="20125"/>
                    <a:pt x="68846" y="19974"/>
                  </a:cubicBezTo>
                  <a:cubicBezTo>
                    <a:pt x="68834" y="19974"/>
                    <a:pt x="68824" y="19964"/>
                    <a:pt x="68819" y="19964"/>
                  </a:cubicBezTo>
                  <a:cubicBezTo>
                    <a:pt x="68496" y="19850"/>
                    <a:pt x="68189" y="19684"/>
                    <a:pt x="67879" y="19528"/>
                  </a:cubicBezTo>
                  <a:cubicBezTo>
                    <a:pt x="67599" y="19421"/>
                    <a:pt x="67314" y="19329"/>
                    <a:pt x="67024" y="19249"/>
                  </a:cubicBezTo>
                  <a:cubicBezTo>
                    <a:pt x="66965" y="19233"/>
                    <a:pt x="66932" y="19185"/>
                    <a:pt x="66927" y="19136"/>
                  </a:cubicBezTo>
                  <a:cubicBezTo>
                    <a:pt x="66756" y="19092"/>
                    <a:pt x="66582" y="19066"/>
                    <a:pt x="66402" y="19066"/>
                  </a:cubicBezTo>
                  <a:cubicBezTo>
                    <a:pt x="66096" y="19066"/>
                    <a:pt x="65774" y="19142"/>
                    <a:pt x="65429" y="19334"/>
                  </a:cubicBezTo>
                  <a:cubicBezTo>
                    <a:pt x="65369" y="19370"/>
                    <a:pt x="65281" y="19392"/>
                    <a:pt x="65182" y="19392"/>
                  </a:cubicBezTo>
                  <a:cubicBezTo>
                    <a:pt x="65147" y="19392"/>
                    <a:pt x="65111" y="19389"/>
                    <a:pt x="65074" y="19383"/>
                  </a:cubicBezTo>
                  <a:cubicBezTo>
                    <a:pt x="64418" y="19475"/>
                    <a:pt x="63779" y="19431"/>
                    <a:pt x="63113" y="19517"/>
                  </a:cubicBezTo>
                  <a:cubicBezTo>
                    <a:pt x="63044" y="19528"/>
                    <a:pt x="62973" y="19539"/>
                    <a:pt x="62908" y="19545"/>
                  </a:cubicBezTo>
                  <a:cubicBezTo>
                    <a:pt x="62732" y="19604"/>
                    <a:pt x="62549" y="19624"/>
                    <a:pt x="62360" y="19631"/>
                  </a:cubicBezTo>
                  <a:cubicBezTo>
                    <a:pt x="61861" y="19716"/>
                    <a:pt x="61356" y="19829"/>
                    <a:pt x="60884" y="19969"/>
                  </a:cubicBezTo>
                  <a:cubicBezTo>
                    <a:pt x="60734" y="20089"/>
                    <a:pt x="60570" y="20175"/>
                    <a:pt x="60363" y="20175"/>
                  </a:cubicBezTo>
                  <a:cubicBezTo>
                    <a:pt x="60310" y="20175"/>
                    <a:pt x="60255" y="20169"/>
                    <a:pt x="60196" y="20157"/>
                  </a:cubicBezTo>
                  <a:cubicBezTo>
                    <a:pt x="60201" y="20157"/>
                    <a:pt x="60201" y="20157"/>
                    <a:pt x="60201" y="20152"/>
                  </a:cubicBezTo>
                  <a:lnTo>
                    <a:pt x="60201" y="20152"/>
                  </a:lnTo>
                  <a:cubicBezTo>
                    <a:pt x="60122" y="20165"/>
                    <a:pt x="60045" y="20171"/>
                    <a:pt x="59968" y="20171"/>
                  </a:cubicBezTo>
                  <a:cubicBezTo>
                    <a:pt x="59794" y="20171"/>
                    <a:pt x="59625" y="20138"/>
                    <a:pt x="59449" y="20071"/>
                  </a:cubicBezTo>
                  <a:cubicBezTo>
                    <a:pt x="59191" y="19996"/>
                    <a:pt x="58944" y="19882"/>
                    <a:pt x="58703" y="19753"/>
                  </a:cubicBezTo>
                  <a:cubicBezTo>
                    <a:pt x="58407" y="19673"/>
                    <a:pt x="58122" y="19668"/>
                    <a:pt x="57768" y="19663"/>
                  </a:cubicBezTo>
                  <a:cubicBezTo>
                    <a:pt x="57719" y="19663"/>
                    <a:pt x="57676" y="19663"/>
                    <a:pt x="57634" y="19657"/>
                  </a:cubicBezTo>
                  <a:cubicBezTo>
                    <a:pt x="57591" y="19669"/>
                    <a:pt x="57549" y="19675"/>
                    <a:pt x="57506" y="19675"/>
                  </a:cubicBezTo>
                  <a:cubicBezTo>
                    <a:pt x="57415" y="19675"/>
                    <a:pt x="57323" y="19646"/>
                    <a:pt x="57235" y="19587"/>
                  </a:cubicBezTo>
                  <a:cubicBezTo>
                    <a:pt x="57188" y="19572"/>
                    <a:pt x="57133" y="19555"/>
                    <a:pt x="57086" y="19534"/>
                  </a:cubicBezTo>
                  <a:cubicBezTo>
                    <a:pt x="56889" y="19452"/>
                    <a:pt x="56566" y="19322"/>
                    <a:pt x="56295" y="19322"/>
                  </a:cubicBezTo>
                  <a:cubicBezTo>
                    <a:pt x="56248" y="19322"/>
                    <a:pt x="56204" y="19326"/>
                    <a:pt x="56161" y="19334"/>
                  </a:cubicBezTo>
                  <a:cubicBezTo>
                    <a:pt x="56086" y="19431"/>
                    <a:pt x="56005" y="19539"/>
                    <a:pt x="55925" y="19614"/>
                  </a:cubicBezTo>
                  <a:cubicBezTo>
                    <a:pt x="55920" y="19577"/>
                    <a:pt x="55914" y="19545"/>
                    <a:pt x="55914" y="19507"/>
                  </a:cubicBezTo>
                  <a:cubicBezTo>
                    <a:pt x="55893" y="19545"/>
                    <a:pt x="55876" y="19577"/>
                    <a:pt x="55866" y="19619"/>
                  </a:cubicBezTo>
                  <a:cubicBezTo>
                    <a:pt x="55861" y="19636"/>
                    <a:pt x="55856" y="19646"/>
                    <a:pt x="55856" y="19657"/>
                  </a:cubicBezTo>
                  <a:cubicBezTo>
                    <a:pt x="55871" y="19652"/>
                    <a:pt x="55888" y="19652"/>
                    <a:pt x="55903" y="19652"/>
                  </a:cubicBezTo>
                  <a:cubicBezTo>
                    <a:pt x="55920" y="19867"/>
                    <a:pt x="55876" y="20028"/>
                    <a:pt x="55791" y="20152"/>
                  </a:cubicBezTo>
                  <a:cubicBezTo>
                    <a:pt x="55753" y="20179"/>
                    <a:pt x="55710" y="20200"/>
                    <a:pt x="55667" y="20221"/>
                  </a:cubicBezTo>
                  <a:cubicBezTo>
                    <a:pt x="55603" y="20248"/>
                    <a:pt x="55533" y="20264"/>
                    <a:pt x="55462" y="20264"/>
                  </a:cubicBezTo>
                  <a:cubicBezTo>
                    <a:pt x="55393" y="20264"/>
                    <a:pt x="55323" y="20248"/>
                    <a:pt x="55259" y="20221"/>
                  </a:cubicBezTo>
                  <a:cubicBezTo>
                    <a:pt x="55205" y="20200"/>
                    <a:pt x="55162" y="20167"/>
                    <a:pt x="55119" y="20135"/>
                  </a:cubicBezTo>
                  <a:cubicBezTo>
                    <a:pt x="55103" y="20043"/>
                    <a:pt x="55108" y="19942"/>
                    <a:pt x="55114" y="19840"/>
                  </a:cubicBezTo>
                  <a:cubicBezTo>
                    <a:pt x="54889" y="19528"/>
                    <a:pt x="54716" y="19260"/>
                    <a:pt x="54276" y="19205"/>
                  </a:cubicBezTo>
                  <a:cubicBezTo>
                    <a:pt x="54044" y="19185"/>
                    <a:pt x="53846" y="19115"/>
                    <a:pt x="53632" y="19024"/>
                  </a:cubicBezTo>
                  <a:cubicBezTo>
                    <a:pt x="53369" y="18907"/>
                    <a:pt x="53140" y="18815"/>
                    <a:pt x="52929" y="18815"/>
                  </a:cubicBezTo>
                  <a:cubicBezTo>
                    <a:pt x="52713" y="18815"/>
                    <a:pt x="52516" y="18912"/>
                    <a:pt x="52325" y="19180"/>
                  </a:cubicBezTo>
                  <a:cubicBezTo>
                    <a:pt x="52229" y="19314"/>
                    <a:pt x="52100" y="19394"/>
                    <a:pt x="51961" y="19470"/>
                  </a:cubicBezTo>
                  <a:cubicBezTo>
                    <a:pt x="51861" y="19544"/>
                    <a:pt x="51746" y="19595"/>
                    <a:pt x="51588" y="19595"/>
                  </a:cubicBezTo>
                  <a:cubicBezTo>
                    <a:pt x="51566" y="19595"/>
                    <a:pt x="51543" y="19594"/>
                    <a:pt x="51520" y="19592"/>
                  </a:cubicBezTo>
                  <a:cubicBezTo>
                    <a:pt x="51026" y="19545"/>
                    <a:pt x="50865" y="19222"/>
                    <a:pt x="50756" y="18857"/>
                  </a:cubicBezTo>
                  <a:cubicBezTo>
                    <a:pt x="50607" y="18669"/>
                    <a:pt x="50451" y="18496"/>
                    <a:pt x="50273" y="18342"/>
                  </a:cubicBezTo>
                  <a:cubicBezTo>
                    <a:pt x="50225" y="18320"/>
                    <a:pt x="50188" y="18287"/>
                    <a:pt x="50156" y="18238"/>
                  </a:cubicBezTo>
                  <a:cubicBezTo>
                    <a:pt x="50032" y="18142"/>
                    <a:pt x="49893" y="18057"/>
                    <a:pt x="49737" y="17975"/>
                  </a:cubicBezTo>
                  <a:cubicBezTo>
                    <a:pt x="48194" y="17192"/>
                    <a:pt x="46340" y="16949"/>
                    <a:pt x="44681" y="16504"/>
                  </a:cubicBezTo>
                  <a:cubicBezTo>
                    <a:pt x="43252" y="16118"/>
                    <a:pt x="41619" y="15811"/>
                    <a:pt x="40394" y="14940"/>
                  </a:cubicBezTo>
                  <a:cubicBezTo>
                    <a:pt x="39975" y="14645"/>
                    <a:pt x="39690" y="14312"/>
                    <a:pt x="39513" y="13941"/>
                  </a:cubicBezTo>
                  <a:cubicBezTo>
                    <a:pt x="39308" y="13770"/>
                    <a:pt x="39293" y="13554"/>
                    <a:pt x="39314" y="13334"/>
                  </a:cubicBezTo>
                  <a:cubicBezTo>
                    <a:pt x="39228" y="12850"/>
                    <a:pt x="39271" y="12319"/>
                    <a:pt x="39405" y="11754"/>
                  </a:cubicBezTo>
                  <a:lnTo>
                    <a:pt x="39410" y="11749"/>
                  </a:lnTo>
                  <a:cubicBezTo>
                    <a:pt x="39470" y="9213"/>
                    <a:pt x="39556" y="6673"/>
                    <a:pt x="39636" y="4137"/>
                  </a:cubicBezTo>
                  <a:cubicBezTo>
                    <a:pt x="39648" y="3906"/>
                    <a:pt x="39653" y="3681"/>
                    <a:pt x="39663" y="3455"/>
                  </a:cubicBezTo>
                  <a:cubicBezTo>
                    <a:pt x="40061" y="1080"/>
                    <a:pt x="40061" y="1058"/>
                    <a:pt x="37708" y="887"/>
                  </a:cubicBezTo>
                  <a:cubicBezTo>
                    <a:pt x="33705" y="597"/>
                    <a:pt x="29698" y="328"/>
                    <a:pt x="25475" y="33"/>
                  </a:cubicBezTo>
                  <a:cubicBezTo>
                    <a:pt x="25391" y="38"/>
                    <a:pt x="25307" y="39"/>
                    <a:pt x="25222" y="39"/>
                  </a:cubicBezTo>
                  <a:cubicBezTo>
                    <a:pt x="24828" y="39"/>
                    <a:pt x="24426" y="0"/>
                    <a:pt x="24033"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TX</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52" name="Google Shape;1150;p29">
              <a:extLst>
                <a:ext uri="{FF2B5EF4-FFF2-40B4-BE49-F238E27FC236}">
                  <a16:creationId xmlns:a16="http://schemas.microsoft.com/office/drawing/2014/main" id="{B8074597-B8B5-7A36-5745-74BACFB6B684}"/>
                </a:ext>
              </a:extLst>
            </p:cNvPr>
            <p:cNvSpPr/>
            <p:nvPr/>
          </p:nvSpPr>
          <p:spPr>
            <a:xfrm>
              <a:off x="3835475" y="3609475"/>
              <a:ext cx="8500" cy="6075"/>
            </a:xfrm>
            <a:custGeom>
              <a:avLst/>
              <a:gdLst/>
              <a:ahLst/>
              <a:cxnLst/>
              <a:rect l="l" t="t" r="r" b="b"/>
              <a:pathLst>
                <a:path w="340" h="243" extrusionOk="0">
                  <a:moveTo>
                    <a:pt x="49" y="0"/>
                  </a:moveTo>
                  <a:cubicBezTo>
                    <a:pt x="0" y="124"/>
                    <a:pt x="32" y="226"/>
                    <a:pt x="146" y="243"/>
                  </a:cubicBezTo>
                  <a:cubicBezTo>
                    <a:pt x="167" y="243"/>
                    <a:pt x="188" y="243"/>
                    <a:pt x="210" y="238"/>
                  </a:cubicBezTo>
                  <a:cubicBezTo>
                    <a:pt x="312" y="216"/>
                    <a:pt x="339" y="119"/>
                    <a:pt x="295" y="7"/>
                  </a:cubicBezTo>
                  <a:cubicBezTo>
                    <a:pt x="216" y="7"/>
                    <a:pt x="129" y="0"/>
                    <a:pt x="49"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53" name="Google Shape;1151;p29">
              <a:extLst>
                <a:ext uri="{FF2B5EF4-FFF2-40B4-BE49-F238E27FC236}">
                  <a16:creationId xmlns:a16="http://schemas.microsoft.com/office/drawing/2014/main" id="{79E400F8-5826-573E-86B8-39EBE90EF607}"/>
                </a:ext>
              </a:extLst>
            </p:cNvPr>
            <p:cNvSpPr/>
            <p:nvPr/>
          </p:nvSpPr>
          <p:spPr>
            <a:xfrm>
              <a:off x="2925675" y="3020950"/>
              <a:ext cx="1172250" cy="600800"/>
            </a:xfrm>
            <a:custGeom>
              <a:avLst/>
              <a:gdLst/>
              <a:ahLst/>
              <a:cxnLst/>
              <a:rect l="l" t="t" r="r" b="b"/>
              <a:pathLst>
                <a:path w="46890" h="24032" extrusionOk="0">
                  <a:moveTo>
                    <a:pt x="1221" y="0"/>
                  </a:moveTo>
                  <a:cubicBezTo>
                    <a:pt x="923" y="0"/>
                    <a:pt x="707" y="111"/>
                    <a:pt x="549" y="296"/>
                  </a:cubicBezTo>
                  <a:cubicBezTo>
                    <a:pt x="506" y="291"/>
                    <a:pt x="464" y="291"/>
                    <a:pt x="415" y="291"/>
                  </a:cubicBezTo>
                  <a:cubicBezTo>
                    <a:pt x="425" y="340"/>
                    <a:pt x="437" y="393"/>
                    <a:pt x="442" y="442"/>
                  </a:cubicBezTo>
                  <a:cubicBezTo>
                    <a:pt x="259" y="753"/>
                    <a:pt x="174" y="1183"/>
                    <a:pt x="120" y="1645"/>
                  </a:cubicBezTo>
                  <a:cubicBezTo>
                    <a:pt x="65" y="2118"/>
                    <a:pt x="1" y="2639"/>
                    <a:pt x="340" y="2929"/>
                  </a:cubicBezTo>
                  <a:cubicBezTo>
                    <a:pt x="335" y="2966"/>
                    <a:pt x="328" y="3015"/>
                    <a:pt x="318" y="3053"/>
                  </a:cubicBezTo>
                  <a:cubicBezTo>
                    <a:pt x="291" y="3202"/>
                    <a:pt x="270" y="3353"/>
                    <a:pt x="248" y="3504"/>
                  </a:cubicBezTo>
                  <a:cubicBezTo>
                    <a:pt x="259" y="3509"/>
                    <a:pt x="276" y="3509"/>
                    <a:pt x="286" y="3514"/>
                  </a:cubicBezTo>
                  <a:cubicBezTo>
                    <a:pt x="345" y="3460"/>
                    <a:pt x="404" y="3413"/>
                    <a:pt x="479" y="3370"/>
                  </a:cubicBezTo>
                  <a:cubicBezTo>
                    <a:pt x="503" y="3370"/>
                    <a:pt x="527" y="3369"/>
                    <a:pt x="552" y="3369"/>
                  </a:cubicBezTo>
                  <a:cubicBezTo>
                    <a:pt x="945" y="3369"/>
                    <a:pt x="1347" y="3408"/>
                    <a:pt x="1741" y="3408"/>
                  </a:cubicBezTo>
                  <a:cubicBezTo>
                    <a:pt x="1826" y="3408"/>
                    <a:pt x="1910" y="3407"/>
                    <a:pt x="1994" y="3402"/>
                  </a:cubicBezTo>
                  <a:cubicBezTo>
                    <a:pt x="6217" y="3697"/>
                    <a:pt x="10224" y="3966"/>
                    <a:pt x="14227" y="4256"/>
                  </a:cubicBezTo>
                  <a:cubicBezTo>
                    <a:pt x="16580" y="4427"/>
                    <a:pt x="16580" y="4449"/>
                    <a:pt x="16182" y="6824"/>
                  </a:cubicBezTo>
                  <a:cubicBezTo>
                    <a:pt x="16172" y="7050"/>
                    <a:pt x="16167" y="7275"/>
                    <a:pt x="16155" y="7506"/>
                  </a:cubicBezTo>
                  <a:cubicBezTo>
                    <a:pt x="16075" y="10042"/>
                    <a:pt x="15989" y="12582"/>
                    <a:pt x="15929" y="15118"/>
                  </a:cubicBezTo>
                  <a:lnTo>
                    <a:pt x="15924" y="15123"/>
                  </a:lnTo>
                  <a:cubicBezTo>
                    <a:pt x="15790" y="15688"/>
                    <a:pt x="15747" y="16219"/>
                    <a:pt x="15833" y="16703"/>
                  </a:cubicBezTo>
                  <a:cubicBezTo>
                    <a:pt x="15812" y="16923"/>
                    <a:pt x="15827" y="17139"/>
                    <a:pt x="16032" y="17310"/>
                  </a:cubicBezTo>
                  <a:cubicBezTo>
                    <a:pt x="16209" y="17681"/>
                    <a:pt x="16494" y="18014"/>
                    <a:pt x="16913" y="18309"/>
                  </a:cubicBezTo>
                  <a:cubicBezTo>
                    <a:pt x="18138" y="19180"/>
                    <a:pt x="19771" y="19487"/>
                    <a:pt x="21200" y="19873"/>
                  </a:cubicBezTo>
                  <a:cubicBezTo>
                    <a:pt x="22859" y="20318"/>
                    <a:pt x="24713" y="20561"/>
                    <a:pt x="26256" y="21344"/>
                  </a:cubicBezTo>
                  <a:cubicBezTo>
                    <a:pt x="26412" y="21426"/>
                    <a:pt x="26551" y="21511"/>
                    <a:pt x="26675" y="21607"/>
                  </a:cubicBezTo>
                  <a:cubicBezTo>
                    <a:pt x="26707" y="21656"/>
                    <a:pt x="26744" y="21689"/>
                    <a:pt x="26792" y="21711"/>
                  </a:cubicBezTo>
                  <a:cubicBezTo>
                    <a:pt x="26970" y="21865"/>
                    <a:pt x="27126" y="22038"/>
                    <a:pt x="27275" y="22226"/>
                  </a:cubicBezTo>
                  <a:cubicBezTo>
                    <a:pt x="27384" y="22591"/>
                    <a:pt x="27545" y="22914"/>
                    <a:pt x="28039" y="22961"/>
                  </a:cubicBezTo>
                  <a:cubicBezTo>
                    <a:pt x="28062" y="22963"/>
                    <a:pt x="28085" y="22964"/>
                    <a:pt x="28107" y="22964"/>
                  </a:cubicBezTo>
                  <a:cubicBezTo>
                    <a:pt x="28265" y="22964"/>
                    <a:pt x="28380" y="22913"/>
                    <a:pt x="28480" y="22839"/>
                  </a:cubicBezTo>
                  <a:cubicBezTo>
                    <a:pt x="28619" y="22763"/>
                    <a:pt x="28748" y="22683"/>
                    <a:pt x="28844" y="22549"/>
                  </a:cubicBezTo>
                  <a:cubicBezTo>
                    <a:pt x="29035" y="22281"/>
                    <a:pt x="29232" y="22184"/>
                    <a:pt x="29448" y="22184"/>
                  </a:cubicBezTo>
                  <a:cubicBezTo>
                    <a:pt x="29659" y="22184"/>
                    <a:pt x="29888" y="22276"/>
                    <a:pt x="30151" y="22393"/>
                  </a:cubicBezTo>
                  <a:cubicBezTo>
                    <a:pt x="30365" y="22484"/>
                    <a:pt x="30563" y="22554"/>
                    <a:pt x="30795" y="22574"/>
                  </a:cubicBezTo>
                  <a:cubicBezTo>
                    <a:pt x="31235" y="22629"/>
                    <a:pt x="31408" y="22897"/>
                    <a:pt x="31633" y="23209"/>
                  </a:cubicBezTo>
                  <a:cubicBezTo>
                    <a:pt x="31627" y="23311"/>
                    <a:pt x="31622" y="23412"/>
                    <a:pt x="31638" y="23504"/>
                  </a:cubicBezTo>
                  <a:cubicBezTo>
                    <a:pt x="31681" y="23536"/>
                    <a:pt x="31724" y="23569"/>
                    <a:pt x="31778" y="23590"/>
                  </a:cubicBezTo>
                  <a:cubicBezTo>
                    <a:pt x="31842" y="23617"/>
                    <a:pt x="31912" y="23633"/>
                    <a:pt x="31981" y="23633"/>
                  </a:cubicBezTo>
                  <a:cubicBezTo>
                    <a:pt x="32052" y="23633"/>
                    <a:pt x="32122" y="23617"/>
                    <a:pt x="32186" y="23590"/>
                  </a:cubicBezTo>
                  <a:cubicBezTo>
                    <a:pt x="32229" y="23569"/>
                    <a:pt x="32272" y="23548"/>
                    <a:pt x="32310" y="23521"/>
                  </a:cubicBezTo>
                  <a:cubicBezTo>
                    <a:pt x="32395" y="23397"/>
                    <a:pt x="32439" y="23236"/>
                    <a:pt x="32422" y="23021"/>
                  </a:cubicBezTo>
                  <a:cubicBezTo>
                    <a:pt x="32407" y="23021"/>
                    <a:pt x="32390" y="23021"/>
                    <a:pt x="32375" y="23026"/>
                  </a:cubicBezTo>
                  <a:cubicBezTo>
                    <a:pt x="32375" y="23015"/>
                    <a:pt x="32380" y="23005"/>
                    <a:pt x="32385" y="22988"/>
                  </a:cubicBezTo>
                  <a:cubicBezTo>
                    <a:pt x="32395" y="22946"/>
                    <a:pt x="32412" y="22914"/>
                    <a:pt x="32433" y="22876"/>
                  </a:cubicBezTo>
                  <a:cubicBezTo>
                    <a:pt x="32433" y="22914"/>
                    <a:pt x="32439" y="22946"/>
                    <a:pt x="32444" y="22983"/>
                  </a:cubicBezTo>
                  <a:cubicBezTo>
                    <a:pt x="32524" y="22908"/>
                    <a:pt x="32605" y="22800"/>
                    <a:pt x="32680" y="22703"/>
                  </a:cubicBezTo>
                  <a:cubicBezTo>
                    <a:pt x="32723" y="22695"/>
                    <a:pt x="32768" y="22691"/>
                    <a:pt x="32814" y="22691"/>
                  </a:cubicBezTo>
                  <a:cubicBezTo>
                    <a:pt x="33086" y="22691"/>
                    <a:pt x="33412" y="22821"/>
                    <a:pt x="33605" y="22903"/>
                  </a:cubicBezTo>
                  <a:cubicBezTo>
                    <a:pt x="33652" y="22924"/>
                    <a:pt x="33707" y="22941"/>
                    <a:pt x="33754" y="22956"/>
                  </a:cubicBezTo>
                  <a:cubicBezTo>
                    <a:pt x="33842" y="23015"/>
                    <a:pt x="33934" y="23044"/>
                    <a:pt x="34025" y="23044"/>
                  </a:cubicBezTo>
                  <a:cubicBezTo>
                    <a:pt x="34068" y="23044"/>
                    <a:pt x="34110" y="23038"/>
                    <a:pt x="34153" y="23026"/>
                  </a:cubicBezTo>
                  <a:cubicBezTo>
                    <a:pt x="34195" y="23032"/>
                    <a:pt x="34238" y="23032"/>
                    <a:pt x="34287" y="23032"/>
                  </a:cubicBezTo>
                  <a:cubicBezTo>
                    <a:pt x="34641" y="23037"/>
                    <a:pt x="34926" y="23042"/>
                    <a:pt x="35222" y="23122"/>
                  </a:cubicBezTo>
                  <a:cubicBezTo>
                    <a:pt x="35463" y="23251"/>
                    <a:pt x="35710" y="23365"/>
                    <a:pt x="35968" y="23440"/>
                  </a:cubicBezTo>
                  <a:cubicBezTo>
                    <a:pt x="36144" y="23507"/>
                    <a:pt x="36313" y="23540"/>
                    <a:pt x="36487" y="23540"/>
                  </a:cubicBezTo>
                  <a:cubicBezTo>
                    <a:pt x="36564" y="23540"/>
                    <a:pt x="36641" y="23534"/>
                    <a:pt x="36720" y="23521"/>
                  </a:cubicBezTo>
                  <a:lnTo>
                    <a:pt x="36720" y="23521"/>
                  </a:lnTo>
                  <a:cubicBezTo>
                    <a:pt x="36720" y="23526"/>
                    <a:pt x="36720" y="23526"/>
                    <a:pt x="36715" y="23526"/>
                  </a:cubicBezTo>
                  <a:cubicBezTo>
                    <a:pt x="36774" y="23538"/>
                    <a:pt x="36829" y="23544"/>
                    <a:pt x="36882" y="23544"/>
                  </a:cubicBezTo>
                  <a:cubicBezTo>
                    <a:pt x="37089" y="23544"/>
                    <a:pt x="37253" y="23458"/>
                    <a:pt x="37403" y="23338"/>
                  </a:cubicBezTo>
                  <a:cubicBezTo>
                    <a:pt x="37875" y="23198"/>
                    <a:pt x="38380" y="23085"/>
                    <a:pt x="38879" y="23000"/>
                  </a:cubicBezTo>
                  <a:cubicBezTo>
                    <a:pt x="39068" y="22993"/>
                    <a:pt x="39251" y="22973"/>
                    <a:pt x="39427" y="22914"/>
                  </a:cubicBezTo>
                  <a:cubicBezTo>
                    <a:pt x="39492" y="22908"/>
                    <a:pt x="39563" y="22897"/>
                    <a:pt x="39632" y="22886"/>
                  </a:cubicBezTo>
                  <a:cubicBezTo>
                    <a:pt x="40298" y="22800"/>
                    <a:pt x="40937" y="22844"/>
                    <a:pt x="41593" y="22752"/>
                  </a:cubicBezTo>
                  <a:cubicBezTo>
                    <a:pt x="41630" y="22758"/>
                    <a:pt x="41666" y="22761"/>
                    <a:pt x="41701" y="22761"/>
                  </a:cubicBezTo>
                  <a:cubicBezTo>
                    <a:pt x="41800" y="22761"/>
                    <a:pt x="41888" y="22739"/>
                    <a:pt x="41948" y="22703"/>
                  </a:cubicBezTo>
                  <a:cubicBezTo>
                    <a:pt x="42293" y="22511"/>
                    <a:pt x="42615" y="22435"/>
                    <a:pt x="42921" y="22435"/>
                  </a:cubicBezTo>
                  <a:cubicBezTo>
                    <a:pt x="43101" y="22435"/>
                    <a:pt x="43275" y="22461"/>
                    <a:pt x="43446" y="22505"/>
                  </a:cubicBezTo>
                  <a:cubicBezTo>
                    <a:pt x="43451" y="22554"/>
                    <a:pt x="43484" y="22602"/>
                    <a:pt x="43543" y="22618"/>
                  </a:cubicBezTo>
                  <a:cubicBezTo>
                    <a:pt x="43833" y="22698"/>
                    <a:pt x="44118" y="22790"/>
                    <a:pt x="44398" y="22897"/>
                  </a:cubicBezTo>
                  <a:cubicBezTo>
                    <a:pt x="44708" y="23053"/>
                    <a:pt x="45015" y="23219"/>
                    <a:pt x="45338" y="23333"/>
                  </a:cubicBezTo>
                  <a:cubicBezTo>
                    <a:pt x="45343" y="23333"/>
                    <a:pt x="45353" y="23343"/>
                    <a:pt x="45365" y="23343"/>
                  </a:cubicBezTo>
                  <a:cubicBezTo>
                    <a:pt x="45616" y="23494"/>
                    <a:pt x="45848" y="23665"/>
                    <a:pt x="46111" y="23774"/>
                  </a:cubicBezTo>
                  <a:cubicBezTo>
                    <a:pt x="46186" y="23935"/>
                    <a:pt x="46325" y="24020"/>
                    <a:pt x="46493" y="24031"/>
                  </a:cubicBezTo>
                  <a:cubicBezTo>
                    <a:pt x="46406" y="23945"/>
                    <a:pt x="46347" y="23838"/>
                    <a:pt x="46337" y="23709"/>
                  </a:cubicBezTo>
                  <a:lnTo>
                    <a:pt x="46332" y="23645"/>
                  </a:lnTo>
                  <a:cubicBezTo>
                    <a:pt x="46325" y="23612"/>
                    <a:pt x="46320" y="23574"/>
                    <a:pt x="46320" y="23531"/>
                  </a:cubicBezTo>
                  <a:lnTo>
                    <a:pt x="46320" y="23531"/>
                  </a:lnTo>
                  <a:cubicBezTo>
                    <a:pt x="46337" y="23536"/>
                    <a:pt x="46352" y="23548"/>
                    <a:pt x="46369" y="23553"/>
                  </a:cubicBezTo>
                  <a:cubicBezTo>
                    <a:pt x="46519" y="23504"/>
                    <a:pt x="46590" y="23360"/>
                    <a:pt x="46583" y="23090"/>
                  </a:cubicBezTo>
                  <a:cubicBezTo>
                    <a:pt x="46568" y="22167"/>
                    <a:pt x="46590" y="21243"/>
                    <a:pt x="46590" y="20318"/>
                  </a:cubicBezTo>
                  <a:cubicBezTo>
                    <a:pt x="46595" y="20147"/>
                    <a:pt x="46600" y="19970"/>
                    <a:pt x="46605" y="19797"/>
                  </a:cubicBezTo>
                  <a:cubicBezTo>
                    <a:pt x="46605" y="19733"/>
                    <a:pt x="46610" y="19663"/>
                    <a:pt x="46605" y="19594"/>
                  </a:cubicBezTo>
                  <a:cubicBezTo>
                    <a:pt x="46610" y="19432"/>
                    <a:pt x="46615" y="19271"/>
                    <a:pt x="46615" y="19110"/>
                  </a:cubicBezTo>
                  <a:cubicBezTo>
                    <a:pt x="46890" y="16289"/>
                    <a:pt x="46890" y="13469"/>
                    <a:pt x="46739" y="10643"/>
                  </a:cubicBezTo>
                  <a:lnTo>
                    <a:pt x="46761" y="10643"/>
                  </a:lnTo>
                  <a:cubicBezTo>
                    <a:pt x="46648" y="9822"/>
                    <a:pt x="46379" y="9021"/>
                    <a:pt x="46235" y="8210"/>
                  </a:cubicBezTo>
                  <a:cubicBezTo>
                    <a:pt x="46100" y="7469"/>
                    <a:pt x="46084" y="6722"/>
                    <a:pt x="45998" y="5981"/>
                  </a:cubicBezTo>
                  <a:cubicBezTo>
                    <a:pt x="45971" y="5820"/>
                    <a:pt x="45950" y="5664"/>
                    <a:pt x="45928" y="5508"/>
                  </a:cubicBezTo>
                  <a:cubicBezTo>
                    <a:pt x="45923" y="5491"/>
                    <a:pt x="45923" y="5481"/>
                    <a:pt x="45923" y="5465"/>
                  </a:cubicBezTo>
                  <a:cubicBezTo>
                    <a:pt x="45858" y="5007"/>
                    <a:pt x="45821" y="4551"/>
                    <a:pt x="45794" y="4095"/>
                  </a:cubicBezTo>
                  <a:cubicBezTo>
                    <a:pt x="45757" y="3396"/>
                    <a:pt x="45751" y="2693"/>
                    <a:pt x="45789" y="1989"/>
                  </a:cubicBezTo>
                  <a:cubicBezTo>
                    <a:pt x="45809" y="1548"/>
                    <a:pt x="45730" y="1312"/>
                    <a:pt x="45499" y="1194"/>
                  </a:cubicBezTo>
                  <a:cubicBezTo>
                    <a:pt x="45353" y="1124"/>
                    <a:pt x="45154" y="1092"/>
                    <a:pt x="44891" y="1087"/>
                  </a:cubicBezTo>
                  <a:cubicBezTo>
                    <a:pt x="35120" y="936"/>
                    <a:pt x="25353" y="747"/>
                    <a:pt x="15581" y="571"/>
                  </a:cubicBezTo>
                  <a:cubicBezTo>
                    <a:pt x="15113" y="586"/>
                    <a:pt x="14646" y="608"/>
                    <a:pt x="14178" y="624"/>
                  </a:cubicBezTo>
                  <a:lnTo>
                    <a:pt x="13233" y="591"/>
                  </a:lnTo>
                  <a:lnTo>
                    <a:pt x="12556" y="591"/>
                  </a:lnTo>
                  <a:cubicBezTo>
                    <a:pt x="12250" y="566"/>
                    <a:pt x="11944" y="527"/>
                    <a:pt x="11642" y="463"/>
                  </a:cubicBezTo>
                  <a:cubicBezTo>
                    <a:pt x="9606" y="405"/>
                    <a:pt x="7571" y="345"/>
                    <a:pt x="5540" y="286"/>
                  </a:cubicBezTo>
                  <a:cubicBezTo>
                    <a:pt x="4600" y="254"/>
                    <a:pt x="3655" y="227"/>
                    <a:pt x="2714" y="200"/>
                  </a:cubicBezTo>
                  <a:cubicBezTo>
                    <a:pt x="2708" y="199"/>
                    <a:pt x="2703" y="199"/>
                    <a:pt x="2698" y="199"/>
                  </a:cubicBezTo>
                  <a:cubicBezTo>
                    <a:pt x="2548" y="199"/>
                    <a:pt x="2382" y="247"/>
                    <a:pt x="2236" y="247"/>
                  </a:cubicBezTo>
                  <a:cubicBezTo>
                    <a:pt x="2176" y="247"/>
                    <a:pt x="2120" y="239"/>
                    <a:pt x="2069" y="216"/>
                  </a:cubicBezTo>
                  <a:cubicBezTo>
                    <a:pt x="1730" y="66"/>
                    <a:pt x="1451" y="0"/>
                    <a:pt x="1221"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OK</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54" name="Google Shape;1152;p29">
              <a:extLst>
                <a:ext uri="{FF2B5EF4-FFF2-40B4-BE49-F238E27FC236}">
                  <a16:creationId xmlns:a16="http://schemas.microsoft.com/office/drawing/2014/main" id="{5EDF95FF-3574-1611-EB4A-648019C8D836}"/>
                </a:ext>
              </a:extLst>
            </p:cNvPr>
            <p:cNvSpPr/>
            <p:nvPr/>
          </p:nvSpPr>
          <p:spPr>
            <a:xfrm>
              <a:off x="1976425" y="2927475"/>
              <a:ext cx="960300" cy="987850"/>
            </a:xfrm>
            <a:custGeom>
              <a:avLst/>
              <a:gdLst/>
              <a:ahLst/>
              <a:cxnLst/>
              <a:rect l="l" t="t" r="r" b="b"/>
              <a:pathLst>
                <a:path w="38412" h="39514" extrusionOk="0">
                  <a:moveTo>
                    <a:pt x="15392" y="1"/>
                  </a:moveTo>
                  <a:cubicBezTo>
                    <a:pt x="15123" y="60"/>
                    <a:pt x="14376" y="1000"/>
                    <a:pt x="14108" y="1059"/>
                  </a:cubicBezTo>
                  <a:cubicBezTo>
                    <a:pt x="11556" y="791"/>
                    <a:pt x="9005" y="566"/>
                    <a:pt x="6464" y="237"/>
                  </a:cubicBezTo>
                  <a:cubicBezTo>
                    <a:pt x="6162" y="194"/>
                    <a:pt x="5609" y="227"/>
                    <a:pt x="5534" y="172"/>
                  </a:cubicBezTo>
                  <a:cubicBezTo>
                    <a:pt x="5517" y="184"/>
                    <a:pt x="5507" y="189"/>
                    <a:pt x="5497" y="194"/>
                  </a:cubicBezTo>
                  <a:cubicBezTo>
                    <a:pt x="5529" y="286"/>
                    <a:pt x="5400" y="829"/>
                    <a:pt x="5346" y="1087"/>
                  </a:cubicBezTo>
                  <a:cubicBezTo>
                    <a:pt x="5259" y="1526"/>
                    <a:pt x="5292" y="2005"/>
                    <a:pt x="5179" y="2445"/>
                  </a:cubicBezTo>
                  <a:cubicBezTo>
                    <a:pt x="5158" y="3541"/>
                    <a:pt x="4787" y="4600"/>
                    <a:pt x="4733" y="5701"/>
                  </a:cubicBezTo>
                  <a:cubicBezTo>
                    <a:pt x="4674" y="6856"/>
                    <a:pt x="4421" y="7990"/>
                    <a:pt x="4245" y="9133"/>
                  </a:cubicBezTo>
                  <a:cubicBezTo>
                    <a:pt x="4240" y="9165"/>
                    <a:pt x="4240" y="9193"/>
                    <a:pt x="4234" y="9225"/>
                  </a:cubicBezTo>
                  <a:cubicBezTo>
                    <a:pt x="4073" y="10385"/>
                    <a:pt x="3917" y="11546"/>
                    <a:pt x="3761" y="12701"/>
                  </a:cubicBezTo>
                  <a:lnTo>
                    <a:pt x="3724" y="12701"/>
                  </a:lnTo>
                  <a:cubicBezTo>
                    <a:pt x="3707" y="12787"/>
                    <a:pt x="3697" y="12872"/>
                    <a:pt x="3680" y="12953"/>
                  </a:cubicBezTo>
                  <a:cubicBezTo>
                    <a:pt x="3514" y="13878"/>
                    <a:pt x="3471" y="14818"/>
                    <a:pt x="3342" y="15741"/>
                  </a:cubicBezTo>
                  <a:cubicBezTo>
                    <a:pt x="3342" y="15817"/>
                    <a:pt x="3337" y="15882"/>
                    <a:pt x="3332" y="15946"/>
                  </a:cubicBezTo>
                  <a:cubicBezTo>
                    <a:pt x="2326" y="23161"/>
                    <a:pt x="1333" y="30375"/>
                    <a:pt x="295" y="37585"/>
                  </a:cubicBezTo>
                  <a:cubicBezTo>
                    <a:pt x="253" y="37912"/>
                    <a:pt x="253" y="38133"/>
                    <a:pt x="339" y="38289"/>
                  </a:cubicBezTo>
                  <a:cubicBezTo>
                    <a:pt x="270" y="38460"/>
                    <a:pt x="161" y="38616"/>
                    <a:pt x="0" y="38730"/>
                  </a:cubicBezTo>
                  <a:cubicBezTo>
                    <a:pt x="270" y="39025"/>
                    <a:pt x="667" y="39089"/>
                    <a:pt x="989" y="39110"/>
                  </a:cubicBezTo>
                  <a:cubicBezTo>
                    <a:pt x="1988" y="39174"/>
                    <a:pt x="2993" y="39298"/>
                    <a:pt x="3970" y="39471"/>
                  </a:cubicBezTo>
                  <a:cubicBezTo>
                    <a:pt x="4138" y="39497"/>
                    <a:pt x="4282" y="39514"/>
                    <a:pt x="4416" y="39514"/>
                  </a:cubicBezTo>
                  <a:cubicBezTo>
                    <a:pt x="4766" y="39514"/>
                    <a:pt x="5045" y="39412"/>
                    <a:pt x="5249" y="39207"/>
                  </a:cubicBezTo>
                  <a:cubicBezTo>
                    <a:pt x="5556" y="38896"/>
                    <a:pt x="5588" y="38460"/>
                    <a:pt x="5582" y="38160"/>
                  </a:cubicBezTo>
                  <a:cubicBezTo>
                    <a:pt x="5582" y="38026"/>
                    <a:pt x="5614" y="37870"/>
                    <a:pt x="5653" y="37703"/>
                  </a:cubicBezTo>
                  <a:cubicBezTo>
                    <a:pt x="5700" y="37478"/>
                    <a:pt x="5749" y="37225"/>
                    <a:pt x="5738" y="36957"/>
                  </a:cubicBezTo>
                  <a:cubicBezTo>
                    <a:pt x="5733" y="36779"/>
                    <a:pt x="5749" y="36692"/>
                    <a:pt x="5760" y="36660"/>
                  </a:cubicBezTo>
                  <a:cubicBezTo>
                    <a:pt x="5782" y="36655"/>
                    <a:pt x="5824" y="36645"/>
                    <a:pt x="5904" y="36645"/>
                  </a:cubicBezTo>
                  <a:cubicBezTo>
                    <a:pt x="5985" y="36645"/>
                    <a:pt x="6082" y="36655"/>
                    <a:pt x="6201" y="36672"/>
                  </a:cubicBezTo>
                  <a:cubicBezTo>
                    <a:pt x="8096" y="36908"/>
                    <a:pt x="10030" y="37118"/>
                    <a:pt x="11894" y="37317"/>
                  </a:cubicBezTo>
                  <a:lnTo>
                    <a:pt x="13490" y="37493"/>
                  </a:lnTo>
                  <a:cubicBezTo>
                    <a:pt x="13528" y="37498"/>
                    <a:pt x="13570" y="37510"/>
                    <a:pt x="13619" y="37520"/>
                  </a:cubicBezTo>
                  <a:cubicBezTo>
                    <a:pt x="13737" y="37552"/>
                    <a:pt x="13882" y="37585"/>
                    <a:pt x="14038" y="37585"/>
                  </a:cubicBezTo>
                  <a:cubicBezTo>
                    <a:pt x="14210" y="37585"/>
                    <a:pt x="14361" y="37537"/>
                    <a:pt x="14490" y="37456"/>
                  </a:cubicBezTo>
                  <a:cubicBezTo>
                    <a:pt x="14629" y="37354"/>
                    <a:pt x="14736" y="37203"/>
                    <a:pt x="14790" y="37015"/>
                  </a:cubicBezTo>
                  <a:cubicBezTo>
                    <a:pt x="14683" y="36930"/>
                    <a:pt x="14629" y="36789"/>
                    <a:pt x="14683" y="36650"/>
                  </a:cubicBezTo>
                  <a:cubicBezTo>
                    <a:pt x="14726" y="36548"/>
                    <a:pt x="14795" y="36478"/>
                    <a:pt x="14876" y="36429"/>
                  </a:cubicBezTo>
                  <a:cubicBezTo>
                    <a:pt x="14924" y="36322"/>
                    <a:pt x="15000" y="36322"/>
                    <a:pt x="15112" y="36322"/>
                  </a:cubicBezTo>
                  <a:cubicBezTo>
                    <a:pt x="15199" y="36322"/>
                    <a:pt x="15306" y="36333"/>
                    <a:pt x="15408" y="36344"/>
                  </a:cubicBezTo>
                  <a:cubicBezTo>
                    <a:pt x="15456" y="36345"/>
                    <a:pt x="15504" y="36345"/>
                    <a:pt x="15552" y="36345"/>
                  </a:cubicBezTo>
                  <a:cubicBezTo>
                    <a:pt x="15996" y="36345"/>
                    <a:pt x="16439" y="36334"/>
                    <a:pt x="16881" y="36334"/>
                  </a:cubicBezTo>
                  <a:cubicBezTo>
                    <a:pt x="17307" y="36334"/>
                    <a:pt x="17731" y="36344"/>
                    <a:pt x="18153" y="36382"/>
                  </a:cubicBezTo>
                  <a:cubicBezTo>
                    <a:pt x="23510" y="36865"/>
                    <a:pt x="28861" y="37364"/>
                    <a:pt x="34211" y="37907"/>
                  </a:cubicBezTo>
                  <a:cubicBezTo>
                    <a:pt x="34361" y="37917"/>
                    <a:pt x="34495" y="37929"/>
                    <a:pt x="34614" y="37929"/>
                  </a:cubicBezTo>
                  <a:cubicBezTo>
                    <a:pt x="35000" y="37827"/>
                    <a:pt x="35268" y="37639"/>
                    <a:pt x="35462" y="37349"/>
                  </a:cubicBezTo>
                  <a:cubicBezTo>
                    <a:pt x="35489" y="37225"/>
                    <a:pt x="35511" y="37074"/>
                    <a:pt x="35516" y="36892"/>
                  </a:cubicBezTo>
                  <a:cubicBezTo>
                    <a:pt x="35559" y="35296"/>
                    <a:pt x="35779" y="33706"/>
                    <a:pt x="35925" y="32115"/>
                  </a:cubicBezTo>
                  <a:lnTo>
                    <a:pt x="35925" y="30704"/>
                  </a:lnTo>
                  <a:cubicBezTo>
                    <a:pt x="36483" y="27050"/>
                    <a:pt x="36661" y="23370"/>
                    <a:pt x="36912" y="19695"/>
                  </a:cubicBezTo>
                  <a:cubicBezTo>
                    <a:pt x="36939" y="19271"/>
                    <a:pt x="36967" y="18852"/>
                    <a:pt x="36999" y="18428"/>
                  </a:cubicBezTo>
                  <a:cubicBezTo>
                    <a:pt x="37445" y="16794"/>
                    <a:pt x="37144" y="15081"/>
                    <a:pt x="37520" y="13437"/>
                  </a:cubicBezTo>
                  <a:lnTo>
                    <a:pt x="37520" y="13432"/>
                  </a:lnTo>
                  <a:cubicBezTo>
                    <a:pt x="37574" y="12696"/>
                    <a:pt x="37628" y="11954"/>
                    <a:pt x="37681" y="11213"/>
                  </a:cubicBezTo>
                  <a:cubicBezTo>
                    <a:pt x="37725" y="10600"/>
                    <a:pt x="37767" y="9988"/>
                    <a:pt x="37810" y="9376"/>
                  </a:cubicBezTo>
                  <a:cubicBezTo>
                    <a:pt x="38144" y="8806"/>
                    <a:pt x="37740" y="7855"/>
                    <a:pt x="38208" y="7308"/>
                  </a:cubicBezTo>
                  <a:cubicBezTo>
                    <a:pt x="38213" y="7286"/>
                    <a:pt x="38213" y="7264"/>
                    <a:pt x="38218" y="7243"/>
                  </a:cubicBezTo>
                  <a:cubicBezTo>
                    <a:pt x="38240" y="7092"/>
                    <a:pt x="38261" y="6941"/>
                    <a:pt x="38288" y="6792"/>
                  </a:cubicBezTo>
                  <a:cubicBezTo>
                    <a:pt x="38298" y="6754"/>
                    <a:pt x="38305" y="6705"/>
                    <a:pt x="38310" y="6668"/>
                  </a:cubicBezTo>
                  <a:cubicBezTo>
                    <a:pt x="37971" y="6378"/>
                    <a:pt x="38035" y="5857"/>
                    <a:pt x="38090" y="5384"/>
                  </a:cubicBezTo>
                  <a:cubicBezTo>
                    <a:pt x="38144" y="4922"/>
                    <a:pt x="38229" y="4492"/>
                    <a:pt x="38412" y="4181"/>
                  </a:cubicBezTo>
                  <a:cubicBezTo>
                    <a:pt x="38407" y="4132"/>
                    <a:pt x="38395" y="4079"/>
                    <a:pt x="38385" y="4030"/>
                  </a:cubicBezTo>
                  <a:cubicBezTo>
                    <a:pt x="38197" y="4025"/>
                    <a:pt x="38003" y="4015"/>
                    <a:pt x="37815" y="4003"/>
                  </a:cubicBezTo>
                  <a:cubicBezTo>
                    <a:pt x="37714" y="3805"/>
                    <a:pt x="37517" y="3686"/>
                    <a:pt x="37127" y="3686"/>
                  </a:cubicBezTo>
                  <a:cubicBezTo>
                    <a:pt x="37044" y="3686"/>
                    <a:pt x="36951" y="3691"/>
                    <a:pt x="36848" y="3703"/>
                  </a:cubicBezTo>
                  <a:cubicBezTo>
                    <a:pt x="36821" y="3706"/>
                    <a:pt x="36794" y="3708"/>
                    <a:pt x="36767" y="3708"/>
                  </a:cubicBezTo>
                  <a:cubicBezTo>
                    <a:pt x="36536" y="3708"/>
                    <a:pt x="36316" y="3581"/>
                    <a:pt x="36268" y="3284"/>
                  </a:cubicBezTo>
                  <a:cubicBezTo>
                    <a:pt x="35913" y="3331"/>
                    <a:pt x="35565" y="3380"/>
                    <a:pt x="35216" y="3428"/>
                  </a:cubicBezTo>
                  <a:cubicBezTo>
                    <a:pt x="31826" y="3073"/>
                    <a:pt x="28435" y="2730"/>
                    <a:pt x="25045" y="2364"/>
                  </a:cubicBezTo>
                  <a:cubicBezTo>
                    <a:pt x="22097" y="2042"/>
                    <a:pt x="19152" y="1694"/>
                    <a:pt x="16203" y="1350"/>
                  </a:cubicBezTo>
                  <a:cubicBezTo>
                    <a:pt x="15742" y="1295"/>
                    <a:pt x="15687" y="527"/>
                    <a:pt x="15392" y="1"/>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latin typeface="Segoe UI" panose="020B0502040204020203" pitchFamily="34" charset="0"/>
                  <a:ea typeface="+mn-ea"/>
                  <a:cs typeface="+mn-cs"/>
                </a:rPr>
                <a:t>NM</a:t>
              </a:r>
              <a:endParaRPr kumimoji="0" sz="1000" b="0" i="0" u="none" strike="noStrike" kern="1200" cap="none" spc="0" normalizeH="0" baseline="0" noProof="0" dirty="0">
                <a:ln>
                  <a:noFill/>
                </a:ln>
                <a:effectLst/>
                <a:uLnTx/>
                <a:uFillTx/>
                <a:latin typeface="Segoe UI" panose="020B0502040204020203" pitchFamily="34" charset="0"/>
                <a:ea typeface="+mn-ea"/>
                <a:cs typeface="+mn-cs"/>
              </a:endParaRPr>
            </a:p>
          </p:txBody>
        </p:sp>
        <p:sp>
          <p:nvSpPr>
            <p:cNvPr id="155" name="Google Shape;1153;p29">
              <a:extLst>
                <a:ext uri="{FF2B5EF4-FFF2-40B4-BE49-F238E27FC236}">
                  <a16:creationId xmlns:a16="http://schemas.microsoft.com/office/drawing/2014/main" id="{99A150A7-03F2-97BA-12FE-4E87E432A381}"/>
                </a:ext>
              </a:extLst>
            </p:cNvPr>
            <p:cNvSpPr/>
            <p:nvPr/>
          </p:nvSpPr>
          <p:spPr>
            <a:xfrm>
              <a:off x="232350" y="1658175"/>
              <a:ext cx="1099850" cy="1868750"/>
            </a:xfrm>
            <a:custGeom>
              <a:avLst/>
              <a:gdLst/>
              <a:ahLst/>
              <a:cxnLst/>
              <a:rect l="l" t="t" r="r" b="b"/>
              <a:pathLst>
                <a:path w="43994" h="74750" extrusionOk="0">
                  <a:moveTo>
                    <a:pt x="5002" y="1"/>
                  </a:moveTo>
                  <a:cubicBezTo>
                    <a:pt x="4766" y="23"/>
                    <a:pt x="4567" y="97"/>
                    <a:pt x="4411" y="226"/>
                  </a:cubicBezTo>
                  <a:cubicBezTo>
                    <a:pt x="4384" y="248"/>
                    <a:pt x="4352" y="264"/>
                    <a:pt x="4330" y="291"/>
                  </a:cubicBezTo>
                  <a:cubicBezTo>
                    <a:pt x="3933" y="699"/>
                    <a:pt x="3948" y="1338"/>
                    <a:pt x="3980" y="2622"/>
                  </a:cubicBezTo>
                  <a:lnTo>
                    <a:pt x="3987" y="2762"/>
                  </a:lnTo>
                  <a:cubicBezTo>
                    <a:pt x="4035" y="4658"/>
                    <a:pt x="3218" y="6372"/>
                    <a:pt x="1418" y="8156"/>
                  </a:cubicBezTo>
                  <a:cubicBezTo>
                    <a:pt x="333" y="9230"/>
                    <a:pt x="0" y="10509"/>
                    <a:pt x="377" y="12185"/>
                  </a:cubicBezTo>
                  <a:cubicBezTo>
                    <a:pt x="484" y="12668"/>
                    <a:pt x="714" y="13092"/>
                    <a:pt x="935" y="13501"/>
                  </a:cubicBezTo>
                  <a:cubicBezTo>
                    <a:pt x="967" y="13554"/>
                    <a:pt x="994" y="13603"/>
                    <a:pt x="1021" y="13657"/>
                  </a:cubicBezTo>
                  <a:cubicBezTo>
                    <a:pt x="1091" y="14747"/>
                    <a:pt x="1300" y="15800"/>
                    <a:pt x="1537" y="16853"/>
                  </a:cubicBezTo>
                  <a:cubicBezTo>
                    <a:pt x="1257" y="17590"/>
                    <a:pt x="1155" y="18319"/>
                    <a:pt x="1064" y="19028"/>
                  </a:cubicBezTo>
                  <a:cubicBezTo>
                    <a:pt x="1010" y="19405"/>
                    <a:pt x="967" y="19765"/>
                    <a:pt x="892" y="20119"/>
                  </a:cubicBezTo>
                  <a:cubicBezTo>
                    <a:pt x="494" y="22075"/>
                    <a:pt x="1305" y="23370"/>
                    <a:pt x="2150" y="24379"/>
                  </a:cubicBezTo>
                  <a:cubicBezTo>
                    <a:pt x="2348" y="24616"/>
                    <a:pt x="2514" y="24858"/>
                    <a:pt x="2643" y="25100"/>
                  </a:cubicBezTo>
                  <a:cubicBezTo>
                    <a:pt x="2745" y="25712"/>
                    <a:pt x="2847" y="26330"/>
                    <a:pt x="2955" y="26942"/>
                  </a:cubicBezTo>
                  <a:cubicBezTo>
                    <a:pt x="2933" y="27022"/>
                    <a:pt x="2923" y="27109"/>
                    <a:pt x="2896" y="27189"/>
                  </a:cubicBezTo>
                  <a:cubicBezTo>
                    <a:pt x="2594" y="28167"/>
                    <a:pt x="2912" y="28795"/>
                    <a:pt x="3320" y="29246"/>
                  </a:cubicBezTo>
                  <a:cubicBezTo>
                    <a:pt x="3336" y="29375"/>
                    <a:pt x="3358" y="29499"/>
                    <a:pt x="3374" y="29628"/>
                  </a:cubicBezTo>
                  <a:cubicBezTo>
                    <a:pt x="3519" y="30719"/>
                    <a:pt x="3744" y="31782"/>
                    <a:pt x="3970" y="32841"/>
                  </a:cubicBezTo>
                  <a:cubicBezTo>
                    <a:pt x="3809" y="33781"/>
                    <a:pt x="4019" y="34812"/>
                    <a:pt x="4523" y="35656"/>
                  </a:cubicBezTo>
                  <a:cubicBezTo>
                    <a:pt x="4615" y="36209"/>
                    <a:pt x="4689" y="36768"/>
                    <a:pt x="4738" y="37337"/>
                  </a:cubicBezTo>
                  <a:cubicBezTo>
                    <a:pt x="4813" y="38261"/>
                    <a:pt x="4937" y="39186"/>
                    <a:pt x="5093" y="40099"/>
                  </a:cubicBezTo>
                  <a:cubicBezTo>
                    <a:pt x="4862" y="40823"/>
                    <a:pt x="5018" y="41586"/>
                    <a:pt x="5560" y="42338"/>
                  </a:cubicBezTo>
                  <a:cubicBezTo>
                    <a:pt x="5899" y="43714"/>
                    <a:pt x="6313" y="45073"/>
                    <a:pt x="6796" y="46394"/>
                  </a:cubicBezTo>
                  <a:cubicBezTo>
                    <a:pt x="7672" y="48759"/>
                    <a:pt x="8177" y="51085"/>
                    <a:pt x="9100" y="53175"/>
                  </a:cubicBezTo>
                  <a:cubicBezTo>
                    <a:pt x="9026" y="53352"/>
                    <a:pt x="8951" y="53529"/>
                    <a:pt x="8886" y="53706"/>
                  </a:cubicBezTo>
                  <a:cubicBezTo>
                    <a:pt x="8634" y="54420"/>
                    <a:pt x="8628" y="54916"/>
                    <a:pt x="9353" y="55469"/>
                  </a:cubicBezTo>
                  <a:cubicBezTo>
                    <a:pt x="9928" y="55908"/>
                    <a:pt x="10551" y="56188"/>
                    <a:pt x="11180" y="56419"/>
                  </a:cubicBezTo>
                  <a:cubicBezTo>
                    <a:pt x="11614" y="56892"/>
                    <a:pt x="12103" y="57343"/>
                    <a:pt x="12668" y="57762"/>
                  </a:cubicBezTo>
                  <a:cubicBezTo>
                    <a:pt x="13732" y="58546"/>
                    <a:pt x="14935" y="59106"/>
                    <a:pt x="16112" y="59701"/>
                  </a:cubicBezTo>
                  <a:cubicBezTo>
                    <a:pt x="16616" y="60395"/>
                    <a:pt x="17352" y="60819"/>
                    <a:pt x="18304" y="60975"/>
                  </a:cubicBezTo>
                  <a:cubicBezTo>
                    <a:pt x="18460" y="61088"/>
                    <a:pt x="18614" y="61189"/>
                    <a:pt x="18765" y="61308"/>
                  </a:cubicBezTo>
                  <a:cubicBezTo>
                    <a:pt x="18996" y="61496"/>
                    <a:pt x="19222" y="61700"/>
                    <a:pt x="19452" y="61888"/>
                  </a:cubicBezTo>
                  <a:cubicBezTo>
                    <a:pt x="19662" y="62764"/>
                    <a:pt x="20280" y="63237"/>
                    <a:pt x="20850" y="63656"/>
                  </a:cubicBezTo>
                  <a:cubicBezTo>
                    <a:pt x="21027" y="63790"/>
                    <a:pt x="21215" y="63929"/>
                    <a:pt x="21393" y="64085"/>
                  </a:cubicBezTo>
                  <a:cubicBezTo>
                    <a:pt x="23885" y="66272"/>
                    <a:pt x="24971" y="68915"/>
                    <a:pt x="24610" y="71928"/>
                  </a:cubicBezTo>
                  <a:cubicBezTo>
                    <a:pt x="24567" y="72294"/>
                    <a:pt x="24552" y="72756"/>
                    <a:pt x="24830" y="73100"/>
                  </a:cubicBezTo>
                  <a:cubicBezTo>
                    <a:pt x="25115" y="73455"/>
                    <a:pt x="25566" y="73524"/>
                    <a:pt x="25963" y="73562"/>
                  </a:cubicBezTo>
                  <a:cubicBezTo>
                    <a:pt x="27344" y="73696"/>
                    <a:pt x="28752" y="73852"/>
                    <a:pt x="30116" y="73998"/>
                  </a:cubicBezTo>
                  <a:cubicBezTo>
                    <a:pt x="32727" y="74281"/>
                    <a:pt x="35414" y="74571"/>
                    <a:pt x="38100" y="74749"/>
                  </a:cubicBezTo>
                  <a:cubicBezTo>
                    <a:pt x="38175" y="74556"/>
                    <a:pt x="38288" y="74389"/>
                    <a:pt x="38449" y="74276"/>
                  </a:cubicBezTo>
                  <a:cubicBezTo>
                    <a:pt x="38470" y="74261"/>
                    <a:pt x="38497" y="74249"/>
                    <a:pt x="38524" y="74239"/>
                  </a:cubicBezTo>
                  <a:cubicBezTo>
                    <a:pt x="38846" y="74261"/>
                    <a:pt x="39174" y="74281"/>
                    <a:pt x="39496" y="74298"/>
                  </a:cubicBezTo>
                  <a:cubicBezTo>
                    <a:pt x="39819" y="74147"/>
                    <a:pt x="40056" y="73869"/>
                    <a:pt x="40098" y="73379"/>
                  </a:cubicBezTo>
                  <a:cubicBezTo>
                    <a:pt x="40141" y="72869"/>
                    <a:pt x="40136" y="72374"/>
                    <a:pt x="40066" y="71864"/>
                  </a:cubicBezTo>
                  <a:cubicBezTo>
                    <a:pt x="40012" y="71488"/>
                    <a:pt x="39932" y="71090"/>
                    <a:pt x="39969" y="70710"/>
                  </a:cubicBezTo>
                  <a:cubicBezTo>
                    <a:pt x="40024" y="70242"/>
                    <a:pt x="40195" y="69892"/>
                    <a:pt x="40399" y="69560"/>
                  </a:cubicBezTo>
                  <a:lnTo>
                    <a:pt x="40388" y="69538"/>
                  </a:lnTo>
                  <a:cubicBezTo>
                    <a:pt x="40394" y="69533"/>
                    <a:pt x="40404" y="69533"/>
                    <a:pt x="40410" y="69533"/>
                  </a:cubicBezTo>
                  <a:cubicBezTo>
                    <a:pt x="40577" y="69259"/>
                    <a:pt x="40765" y="68990"/>
                    <a:pt x="40926" y="68667"/>
                  </a:cubicBezTo>
                  <a:cubicBezTo>
                    <a:pt x="41281" y="67963"/>
                    <a:pt x="41313" y="67105"/>
                    <a:pt x="41747" y="66443"/>
                  </a:cubicBezTo>
                  <a:cubicBezTo>
                    <a:pt x="41893" y="66223"/>
                    <a:pt x="42059" y="66046"/>
                    <a:pt x="42241" y="65901"/>
                  </a:cubicBezTo>
                  <a:cubicBezTo>
                    <a:pt x="42248" y="65880"/>
                    <a:pt x="42268" y="65863"/>
                    <a:pt x="42306" y="65843"/>
                  </a:cubicBezTo>
                  <a:cubicBezTo>
                    <a:pt x="42435" y="65746"/>
                    <a:pt x="42575" y="65649"/>
                    <a:pt x="42714" y="65563"/>
                  </a:cubicBezTo>
                  <a:cubicBezTo>
                    <a:pt x="42720" y="65488"/>
                    <a:pt x="42833" y="65461"/>
                    <a:pt x="42918" y="65439"/>
                  </a:cubicBezTo>
                  <a:cubicBezTo>
                    <a:pt x="42918" y="65434"/>
                    <a:pt x="42925" y="65434"/>
                    <a:pt x="42930" y="65429"/>
                  </a:cubicBezTo>
                  <a:cubicBezTo>
                    <a:pt x="43106" y="64998"/>
                    <a:pt x="43698" y="64864"/>
                    <a:pt x="43956" y="64494"/>
                  </a:cubicBezTo>
                  <a:cubicBezTo>
                    <a:pt x="43993" y="64328"/>
                    <a:pt x="43944" y="64150"/>
                    <a:pt x="43756" y="63961"/>
                  </a:cubicBezTo>
                  <a:lnTo>
                    <a:pt x="43563" y="63768"/>
                  </a:lnTo>
                  <a:cubicBezTo>
                    <a:pt x="43391" y="63698"/>
                    <a:pt x="43322" y="63580"/>
                    <a:pt x="43305" y="63334"/>
                  </a:cubicBezTo>
                  <a:cubicBezTo>
                    <a:pt x="43096" y="62640"/>
                    <a:pt x="42655" y="62232"/>
                    <a:pt x="42613" y="61474"/>
                  </a:cubicBezTo>
                  <a:cubicBezTo>
                    <a:pt x="42607" y="61362"/>
                    <a:pt x="42602" y="61249"/>
                    <a:pt x="42591" y="61136"/>
                  </a:cubicBezTo>
                  <a:cubicBezTo>
                    <a:pt x="42473" y="60448"/>
                    <a:pt x="42451" y="59756"/>
                    <a:pt x="42312" y="59079"/>
                  </a:cubicBezTo>
                  <a:cubicBezTo>
                    <a:pt x="42280" y="58906"/>
                    <a:pt x="42236" y="58734"/>
                    <a:pt x="42183" y="58563"/>
                  </a:cubicBezTo>
                  <a:cubicBezTo>
                    <a:pt x="42160" y="58566"/>
                    <a:pt x="42139" y="58568"/>
                    <a:pt x="42120" y="58568"/>
                  </a:cubicBezTo>
                  <a:cubicBezTo>
                    <a:pt x="41923" y="58568"/>
                    <a:pt x="41913" y="58401"/>
                    <a:pt x="41903" y="58236"/>
                  </a:cubicBezTo>
                  <a:cubicBezTo>
                    <a:pt x="41839" y="58031"/>
                    <a:pt x="41764" y="57837"/>
                    <a:pt x="41667" y="57655"/>
                  </a:cubicBezTo>
                  <a:cubicBezTo>
                    <a:pt x="41506" y="57354"/>
                    <a:pt x="41296" y="57075"/>
                    <a:pt x="41028" y="56843"/>
                  </a:cubicBezTo>
                  <a:cubicBezTo>
                    <a:pt x="40813" y="56768"/>
                    <a:pt x="40577" y="56714"/>
                    <a:pt x="40572" y="56419"/>
                  </a:cubicBezTo>
                  <a:cubicBezTo>
                    <a:pt x="40265" y="56242"/>
                    <a:pt x="40125" y="55952"/>
                    <a:pt x="40044" y="55625"/>
                  </a:cubicBezTo>
                  <a:cubicBezTo>
                    <a:pt x="39722" y="55447"/>
                    <a:pt x="39583" y="55157"/>
                    <a:pt x="39508" y="54819"/>
                  </a:cubicBezTo>
                  <a:cubicBezTo>
                    <a:pt x="39185" y="54651"/>
                    <a:pt x="39035" y="54368"/>
                    <a:pt x="38975" y="54018"/>
                  </a:cubicBezTo>
                  <a:cubicBezTo>
                    <a:pt x="38643" y="53857"/>
                    <a:pt x="38492" y="53572"/>
                    <a:pt x="38438" y="53223"/>
                  </a:cubicBezTo>
                  <a:cubicBezTo>
                    <a:pt x="38191" y="53126"/>
                    <a:pt x="38105" y="52938"/>
                    <a:pt x="38169" y="52680"/>
                  </a:cubicBezTo>
                  <a:cubicBezTo>
                    <a:pt x="37756" y="52573"/>
                    <a:pt x="37584" y="52305"/>
                    <a:pt x="37638" y="51879"/>
                  </a:cubicBezTo>
                  <a:cubicBezTo>
                    <a:pt x="37213" y="51782"/>
                    <a:pt x="37052" y="51504"/>
                    <a:pt x="37106" y="51080"/>
                  </a:cubicBezTo>
                  <a:cubicBezTo>
                    <a:pt x="36665" y="50993"/>
                    <a:pt x="36520" y="50708"/>
                    <a:pt x="36568" y="50289"/>
                  </a:cubicBezTo>
                  <a:lnTo>
                    <a:pt x="36568" y="50289"/>
                  </a:lnTo>
                  <a:cubicBezTo>
                    <a:pt x="36548" y="50292"/>
                    <a:pt x="36529" y="50293"/>
                    <a:pt x="36512" y="50293"/>
                  </a:cubicBezTo>
                  <a:cubicBezTo>
                    <a:pt x="36315" y="50293"/>
                    <a:pt x="36305" y="50130"/>
                    <a:pt x="36300" y="49957"/>
                  </a:cubicBezTo>
                  <a:cubicBezTo>
                    <a:pt x="36214" y="49687"/>
                    <a:pt x="36101" y="49436"/>
                    <a:pt x="35956" y="49199"/>
                  </a:cubicBezTo>
                  <a:cubicBezTo>
                    <a:pt x="35816" y="48968"/>
                    <a:pt x="35640" y="48753"/>
                    <a:pt x="35419" y="48571"/>
                  </a:cubicBezTo>
                  <a:cubicBezTo>
                    <a:pt x="35204" y="48490"/>
                    <a:pt x="34973" y="48437"/>
                    <a:pt x="34968" y="48147"/>
                  </a:cubicBezTo>
                  <a:cubicBezTo>
                    <a:pt x="34661" y="47963"/>
                    <a:pt x="34517" y="47679"/>
                    <a:pt x="34436" y="47346"/>
                  </a:cubicBezTo>
                  <a:cubicBezTo>
                    <a:pt x="34118" y="47173"/>
                    <a:pt x="33974" y="46883"/>
                    <a:pt x="33904" y="46545"/>
                  </a:cubicBezTo>
                  <a:cubicBezTo>
                    <a:pt x="33577" y="46374"/>
                    <a:pt x="33426" y="46089"/>
                    <a:pt x="33367" y="45745"/>
                  </a:cubicBezTo>
                  <a:cubicBezTo>
                    <a:pt x="33039" y="45578"/>
                    <a:pt x="32883" y="45293"/>
                    <a:pt x="32836" y="44944"/>
                  </a:cubicBezTo>
                  <a:cubicBezTo>
                    <a:pt x="32583" y="44847"/>
                    <a:pt x="32502" y="44665"/>
                    <a:pt x="32566" y="44408"/>
                  </a:cubicBezTo>
                  <a:cubicBezTo>
                    <a:pt x="32152" y="44299"/>
                    <a:pt x="31976" y="44031"/>
                    <a:pt x="32035" y="43607"/>
                  </a:cubicBezTo>
                  <a:cubicBezTo>
                    <a:pt x="31604" y="43510"/>
                    <a:pt x="31443" y="43230"/>
                    <a:pt x="31497" y="42806"/>
                  </a:cubicBezTo>
                  <a:cubicBezTo>
                    <a:pt x="31056" y="42720"/>
                    <a:pt x="30917" y="42430"/>
                    <a:pt x="30966" y="42011"/>
                  </a:cubicBezTo>
                  <a:lnTo>
                    <a:pt x="30966" y="42011"/>
                  </a:lnTo>
                  <a:cubicBezTo>
                    <a:pt x="30943" y="42014"/>
                    <a:pt x="30923" y="42016"/>
                    <a:pt x="30904" y="42016"/>
                  </a:cubicBezTo>
                  <a:cubicBezTo>
                    <a:pt x="30711" y="42016"/>
                    <a:pt x="30701" y="41850"/>
                    <a:pt x="30691" y="41683"/>
                  </a:cubicBezTo>
                  <a:cubicBezTo>
                    <a:pt x="30573" y="41485"/>
                    <a:pt x="30461" y="41286"/>
                    <a:pt x="30342" y="41088"/>
                  </a:cubicBezTo>
                  <a:cubicBezTo>
                    <a:pt x="30138" y="41001"/>
                    <a:pt x="29902" y="40959"/>
                    <a:pt x="29896" y="40668"/>
                  </a:cubicBezTo>
                  <a:cubicBezTo>
                    <a:pt x="29595" y="40485"/>
                    <a:pt x="29445" y="40200"/>
                    <a:pt x="29365" y="39873"/>
                  </a:cubicBezTo>
                  <a:cubicBezTo>
                    <a:pt x="29053" y="39690"/>
                    <a:pt x="28908" y="39400"/>
                    <a:pt x="28827" y="39067"/>
                  </a:cubicBezTo>
                  <a:cubicBezTo>
                    <a:pt x="28510" y="38896"/>
                    <a:pt x="28365" y="38606"/>
                    <a:pt x="28296" y="38266"/>
                  </a:cubicBezTo>
                  <a:cubicBezTo>
                    <a:pt x="27968" y="38100"/>
                    <a:pt x="27823" y="37815"/>
                    <a:pt x="27763" y="37466"/>
                  </a:cubicBezTo>
                  <a:cubicBezTo>
                    <a:pt x="27431" y="37305"/>
                    <a:pt x="27275" y="37020"/>
                    <a:pt x="27227" y="36672"/>
                  </a:cubicBezTo>
                  <a:cubicBezTo>
                    <a:pt x="26974" y="36575"/>
                    <a:pt x="26893" y="36387"/>
                    <a:pt x="26957" y="36129"/>
                  </a:cubicBezTo>
                  <a:cubicBezTo>
                    <a:pt x="26544" y="36020"/>
                    <a:pt x="26372" y="35752"/>
                    <a:pt x="26426" y="35328"/>
                  </a:cubicBezTo>
                  <a:cubicBezTo>
                    <a:pt x="25996" y="35231"/>
                    <a:pt x="25834" y="34952"/>
                    <a:pt x="25894" y="34527"/>
                  </a:cubicBezTo>
                  <a:cubicBezTo>
                    <a:pt x="25454" y="34441"/>
                    <a:pt x="25308" y="34157"/>
                    <a:pt x="25357" y="33738"/>
                  </a:cubicBezTo>
                  <a:lnTo>
                    <a:pt x="25357" y="33738"/>
                  </a:lnTo>
                  <a:cubicBezTo>
                    <a:pt x="25338" y="33741"/>
                    <a:pt x="25320" y="33742"/>
                    <a:pt x="25303" y="33742"/>
                  </a:cubicBezTo>
                  <a:cubicBezTo>
                    <a:pt x="25103" y="33742"/>
                    <a:pt x="25093" y="33573"/>
                    <a:pt x="25088" y="33404"/>
                  </a:cubicBezTo>
                  <a:cubicBezTo>
                    <a:pt x="25040" y="33270"/>
                    <a:pt x="24991" y="33141"/>
                    <a:pt x="24938" y="33012"/>
                  </a:cubicBezTo>
                  <a:cubicBezTo>
                    <a:pt x="24766" y="32636"/>
                    <a:pt x="24535" y="32298"/>
                    <a:pt x="24213" y="32018"/>
                  </a:cubicBezTo>
                  <a:cubicBezTo>
                    <a:pt x="23992" y="31949"/>
                    <a:pt x="23756" y="31889"/>
                    <a:pt x="23756" y="31594"/>
                  </a:cubicBezTo>
                  <a:cubicBezTo>
                    <a:pt x="23444" y="31418"/>
                    <a:pt x="23305" y="31127"/>
                    <a:pt x="23224" y="30794"/>
                  </a:cubicBezTo>
                  <a:cubicBezTo>
                    <a:pt x="22901" y="30622"/>
                    <a:pt x="22757" y="30332"/>
                    <a:pt x="22687" y="29993"/>
                  </a:cubicBezTo>
                  <a:cubicBezTo>
                    <a:pt x="22365" y="29821"/>
                    <a:pt x="22214" y="29536"/>
                    <a:pt x="22155" y="29194"/>
                  </a:cubicBezTo>
                  <a:cubicBezTo>
                    <a:pt x="21822" y="29026"/>
                    <a:pt x="21671" y="28747"/>
                    <a:pt x="21624" y="28393"/>
                  </a:cubicBezTo>
                  <a:cubicBezTo>
                    <a:pt x="21366" y="28296"/>
                    <a:pt x="21284" y="28113"/>
                    <a:pt x="21349" y="27855"/>
                  </a:cubicBezTo>
                  <a:cubicBezTo>
                    <a:pt x="20935" y="27748"/>
                    <a:pt x="20764" y="27474"/>
                    <a:pt x="20818" y="27049"/>
                  </a:cubicBezTo>
                  <a:cubicBezTo>
                    <a:pt x="20007" y="26641"/>
                    <a:pt x="19990" y="26045"/>
                    <a:pt x="20205" y="25207"/>
                  </a:cubicBezTo>
                  <a:cubicBezTo>
                    <a:pt x="21731" y="19212"/>
                    <a:pt x="23176" y="13194"/>
                    <a:pt x="24718" y="7204"/>
                  </a:cubicBezTo>
                  <a:cubicBezTo>
                    <a:pt x="24830" y="6780"/>
                    <a:pt x="24852" y="6474"/>
                    <a:pt x="24771" y="6244"/>
                  </a:cubicBezTo>
                  <a:cubicBezTo>
                    <a:pt x="24862" y="6071"/>
                    <a:pt x="24981" y="5915"/>
                    <a:pt x="25152" y="5797"/>
                  </a:cubicBezTo>
                  <a:cubicBezTo>
                    <a:pt x="25078" y="5679"/>
                    <a:pt x="24981" y="5577"/>
                    <a:pt x="24862" y="5480"/>
                  </a:cubicBezTo>
                  <a:cubicBezTo>
                    <a:pt x="19437" y="4077"/>
                    <a:pt x="14032" y="2590"/>
                    <a:pt x="8639" y="1064"/>
                  </a:cubicBezTo>
                  <a:cubicBezTo>
                    <a:pt x="7870" y="849"/>
                    <a:pt x="7119" y="549"/>
                    <a:pt x="6340" y="420"/>
                  </a:cubicBezTo>
                  <a:cubicBezTo>
                    <a:pt x="5743" y="323"/>
                    <a:pt x="5314" y="184"/>
                    <a:pt x="5002"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A</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56" name="Google Shape;1154;p29">
              <a:extLst>
                <a:ext uri="{FF2B5EF4-FFF2-40B4-BE49-F238E27FC236}">
                  <a16:creationId xmlns:a16="http://schemas.microsoft.com/office/drawing/2014/main" id="{A4E1405D-FAB3-2BDF-EF5D-A9AF854FD939}"/>
                </a:ext>
              </a:extLst>
            </p:cNvPr>
            <p:cNvSpPr/>
            <p:nvPr/>
          </p:nvSpPr>
          <p:spPr>
            <a:xfrm>
              <a:off x="1181475" y="2825150"/>
              <a:ext cx="933175" cy="1074725"/>
            </a:xfrm>
            <a:custGeom>
              <a:avLst/>
              <a:gdLst/>
              <a:ahLst/>
              <a:cxnLst/>
              <a:rect l="l" t="t" r="r" b="b"/>
              <a:pathLst>
                <a:path w="37327" h="42989" extrusionOk="0">
                  <a:moveTo>
                    <a:pt x="10497" y="0"/>
                  </a:moveTo>
                  <a:cubicBezTo>
                    <a:pt x="10449" y="172"/>
                    <a:pt x="10395" y="339"/>
                    <a:pt x="10342" y="506"/>
                  </a:cubicBezTo>
                  <a:cubicBezTo>
                    <a:pt x="10192" y="758"/>
                    <a:pt x="10073" y="1156"/>
                    <a:pt x="9907" y="1758"/>
                  </a:cubicBezTo>
                  <a:cubicBezTo>
                    <a:pt x="9912" y="1805"/>
                    <a:pt x="9896" y="1865"/>
                    <a:pt x="9864" y="1924"/>
                  </a:cubicBezTo>
                  <a:cubicBezTo>
                    <a:pt x="9504" y="2364"/>
                    <a:pt x="9332" y="2869"/>
                    <a:pt x="9208" y="3395"/>
                  </a:cubicBezTo>
                  <a:cubicBezTo>
                    <a:pt x="9176" y="3514"/>
                    <a:pt x="9155" y="3632"/>
                    <a:pt x="9128" y="3756"/>
                  </a:cubicBezTo>
                  <a:cubicBezTo>
                    <a:pt x="9074" y="4014"/>
                    <a:pt x="9026" y="4277"/>
                    <a:pt x="8962" y="4530"/>
                  </a:cubicBezTo>
                  <a:cubicBezTo>
                    <a:pt x="8886" y="4830"/>
                    <a:pt x="8795" y="5125"/>
                    <a:pt x="8655" y="5410"/>
                  </a:cubicBezTo>
                  <a:cubicBezTo>
                    <a:pt x="8504" y="5722"/>
                    <a:pt x="8380" y="5935"/>
                    <a:pt x="8243" y="5935"/>
                  </a:cubicBezTo>
                  <a:cubicBezTo>
                    <a:pt x="8165" y="5935"/>
                    <a:pt x="8083" y="5866"/>
                    <a:pt x="7989" y="5706"/>
                  </a:cubicBezTo>
                  <a:cubicBezTo>
                    <a:pt x="7854" y="5470"/>
                    <a:pt x="7705" y="5297"/>
                    <a:pt x="7543" y="5180"/>
                  </a:cubicBezTo>
                  <a:cubicBezTo>
                    <a:pt x="7441" y="5098"/>
                    <a:pt x="7328" y="5039"/>
                    <a:pt x="7216" y="4996"/>
                  </a:cubicBezTo>
                  <a:cubicBezTo>
                    <a:pt x="7043" y="4937"/>
                    <a:pt x="6866" y="4910"/>
                    <a:pt x="6689" y="4905"/>
                  </a:cubicBezTo>
                  <a:cubicBezTo>
                    <a:pt x="6672" y="4905"/>
                    <a:pt x="6655" y="4904"/>
                    <a:pt x="6638" y="4904"/>
                  </a:cubicBezTo>
                  <a:cubicBezTo>
                    <a:pt x="6202" y="4904"/>
                    <a:pt x="5741" y="5020"/>
                    <a:pt x="5303" y="5020"/>
                  </a:cubicBezTo>
                  <a:cubicBezTo>
                    <a:pt x="5271" y="5020"/>
                    <a:pt x="5238" y="5020"/>
                    <a:pt x="5206" y="5018"/>
                  </a:cubicBezTo>
                  <a:lnTo>
                    <a:pt x="5206" y="5018"/>
                  </a:lnTo>
                  <a:cubicBezTo>
                    <a:pt x="5743" y="6226"/>
                    <a:pt x="5195" y="7484"/>
                    <a:pt x="5335" y="8649"/>
                  </a:cubicBezTo>
                  <a:cubicBezTo>
                    <a:pt x="5357" y="8842"/>
                    <a:pt x="5367" y="9036"/>
                    <a:pt x="5367" y="9229"/>
                  </a:cubicBezTo>
                  <a:cubicBezTo>
                    <a:pt x="5335" y="9390"/>
                    <a:pt x="5330" y="9536"/>
                    <a:pt x="5351" y="9681"/>
                  </a:cubicBezTo>
                  <a:cubicBezTo>
                    <a:pt x="5292" y="10530"/>
                    <a:pt x="5072" y="11368"/>
                    <a:pt x="4895" y="12206"/>
                  </a:cubicBezTo>
                  <a:cubicBezTo>
                    <a:pt x="4766" y="12276"/>
                    <a:pt x="4626" y="12330"/>
                    <a:pt x="4470" y="12362"/>
                  </a:cubicBezTo>
                  <a:cubicBezTo>
                    <a:pt x="4464" y="12362"/>
                    <a:pt x="4464" y="12362"/>
                    <a:pt x="4464" y="12368"/>
                  </a:cubicBezTo>
                  <a:cubicBezTo>
                    <a:pt x="4427" y="12383"/>
                    <a:pt x="4390" y="12395"/>
                    <a:pt x="4347" y="12400"/>
                  </a:cubicBezTo>
                  <a:cubicBezTo>
                    <a:pt x="4486" y="13077"/>
                    <a:pt x="4508" y="13769"/>
                    <a:pt x="4626" y="14457"/>
                  </a:cubicBezTo>
                  <a:cubicBezTo>
                    <a:pt x="4637" y="14570"/>
                    <a:pt x="4642" y="14683"/>
                    <a:pt x="4648" y="14795"/>
                  </a:cubicBezTo>
                  <a:cubicBezTo>
                    <a:pt x="4690" y="15553"/>
                    <a:pt x="5131" y="15961"/>
                    <a:pt x="5340" y="16655"/>
                  </a:cubicBezTo>
                  <a:cubicBezTo>
                    <a:pt x="5357" y="16901"/>
                    <a:pt x="5426" y="17019"/>
                    <a:pt x="5598" y="17089"/>
                  </a:cubicBezTo>
                  <a:lnTo>
                    <a:pt x="5791" y="17282"/>
                  </a:lnTo>
                  <a:cubicBezTo>
                    <a:pt x="5979" y="17471"/>
                    <a:pt x="6028" y="17649"/>
                    <a:pt x="5991" y="17815"/>
                  </a:cubicBezTo>
                  <a:cubicBezTo>
                    <a:pt x="5733" y="18185"/>
                    <a:pt x="5141" y="18319"/>
                    <a:pt x="4965" y="18750"/>
                  </a:cubicBezTo>
                  <a:cubicBezTo>
                    <a:pt x="4960" y="18755"/>
                    <a:pt x="4953" y="18755"/>
                    <a:pt x="4953" y="18760"/>
                  </a:cubicBezTo>
                  <a:cubicBezTo>
                    <a:pt x="4868" y="18782"/>
                    <a:pt x="4755" y="18809"/>
                    <a:pt x="4749" y="18884"/>
                  </a:cubicBezTo>
                  <a:cubicBezTo>
                    <a:pt x="4610" y="18970"/>
                    <a:pt x="4470" y="19067"/>
                    <a:pt x="4341" y="19164"/>
                  </a:cubicBezTo>
                  <a:cubicBezTo>
                    <a:pt x="4303" y="19184"/>
                    <a:pt x="4283" y="19201"/>
                    <a:pt x="4276" y="19222"/>
                  </a:cubicBezTo>
                  <a:cubicBezTo>
                    <a:pt x="4094" y="19367"/>
                    <a:pt x="3928" y="19544"/>
                    <a:pt x="3782" y="19764"/>
                  </a:cubicBezTo>
                  <a:cubicBezTo>
                    <a:pt x="3348" y="20426"/>
                    <a:pt x="3316" y="21284"/>
                    <a:pt x="2961" y="21988"/>
                  </a:cubicBezTo>
                  <a:cubicBezTo>
                    <a:pt x="2800" y="22311"/>
                    <a:pt x="2612" y="22580"/>
                    <a:pt x="2445" y="22854"/>
                  </a:cubicBezTo>
                  <a:cubicBezTo>
                    <a:pt x="2439" y="22854"/>
                    <a:pt x="2429" y="22854"/>
                    <a:pt x="2423" y="22859"/>
                  </a:cubicBezTo>
                  <a:lnTo>
                    <a:pt x="2434" y="22881"/>
                  </a:lnTo>
                  <a:cubicBezTo>
                    <a:pt x="2230" y="23213"/>
                    <a:pt x="2059" y="23563"/>
                    <a:pt x="2004" y="24031"/>
                  </a:cubicBezTo>
                  <a:cubicBezTo>
                    <a:pt x="1967" y="24411"/>
                    <a:pt x="2047" y="24809"/>
                    <a:pt x="2101" y="25185"/>
                  </a:cubicBezTo>
                  <a:cubicBezTo>
                    <a:pt x="2171" y="25695"/>
                    <a:pt x="2176" y="26190"/>
                    <a:pt x="2133" y="26700"/>
                  </a:cubicBezTo>
                  <a:cubicBezTo>
                    <a:pt x="2091" y="27190"/>
                    <a:pt x="1854" y="27468"/>
                    <a:pt x="1531" y="27619"/>
                  </a:cubicBezTo>
                  <a:cubicBezTo>
                    <a:pt x="1209" y="27602"/>
                    <a:pt x="881" y="27582"/>
                    <a:pt x="559" y="27560"/>
                  </a:cubicBezTo>
                  <a:cubicBezTo>
                    <a:pt x="532" y="27570"/>
                    <a:pt x="505" y="27582"/>
                    <a:pt x="484" y="27597"/>
                  </a:cubicBezTo>
                  <a:cubicBezTo>
                    <a:pt x="323" y="27710"/>
                    <a:pt x="210" y="27877"/>
                    <a:pt x="135" y="28070"/>
                  </a:cubicBezTo>
                  <a:cubicBezTo>
                    <a:pt x="81" y="28209"/>
                    <a:pt x="48" y="28360"/>
                    <a:pt x="43" y="28532"/>
                  </a:cubicBezTo>
                  <a:cubicBezTo>
                    <a:pt x="1" y="29660"/>
                    <a:pt x="849" y="29987"/>
                    <a:pt x="1355" y="30181"/>
                  </a:cubicBezTo>
                  <a:cubicBezTo>
                    <a:pt x="1499" y="30235"/>
                    <a:pt x="1633" y="30289"/>
                    <a:pt x="1730" y="30348"/>
                  </a:cubicBezTo>
                  <a:cubicBezTo>
                    <a:pt x="5185" y="32400"/>
                    <a:pt x="8709" y="34474"/>
                    <a:pt x="12115" y="36473"/>
                  </a:cubicBezTo>
                  <a:cubicBezTo>
                    <a:pt x="14430" y="37837"/>
                    <a:pt x="16750" y="39201"/>
                    <a:pt x="19066" y="40566"/>
                  </a:cubicBezTo>
                  <a:cubicBezTo>
                    <a:pt x="19851" y="41033"/>
                    <a:pt x="20640" y="41323"/>
                    <a:pt x="21478" y="41457"/>
                  </a:cubicBezTo>
                  <a:cubicBezTo>
                    <a:pt x="22456" y="41613"/>
                    <a:pt x="23434" y="41764"/>
                    <a:pt x="24412" y="41914"/>
                  </a:cubicBezTo>
                  <a:cubicBezTo>
                    <a:pt x="26464" y="42231"/>
                    <a:pt x="28586" y="42558"/>
                    <a:pt x="30660" y="42935"/>
                  </a:cubicBezTo>
                  <a:cubicBezTo>
                    <a:pt x="30858" y="42972"/>
                    <a:pt x="31025" y="42989"/>
                    <a:pt x="31165" y="42989"/>
                  </a:cubicBezTo>
                  <a:cubicBezTo>
                    <a:pt x="31438" y="42989"/>
                    <a:pt x="31642" y="42924"/>
                    <a:pt x="31798" y="42823"/>
                  </a:cubicBezTo>
                  <a:cubicBezTo>
                    <a:pt x="31959" y="42709"/>
                    <a:pt x="32068" y="42553"/>
                    <a:pt x="32137" y="42382"/>
                  </a:cubicBezTo>
                  <a:cubicBezTo>
                    <a:pt x="32051" y="42226"/>
                    <a:pt x="32051" y="42005"/>
                    <a:pt x="32093" y="41678"/>
                  </a:cubicBezTo>
                  <a:cubicBezTo>
                    <a:pt x="33131" y="34468"/>
                    <a:pt x="34124" y="27254"/>
                    <a:pt x="35130" y="20039"/>
                  </a:cubicBezTo>
                  <a:cubicBezTo>
                    <a:pt x="35135" y="19975"/>
                    <a:pt x="35140" y="19910"/>
                    <a:pt x="35140" y="19834"/>
                  </a:cubicBezTo>
                  <a:cubicBezTo>
                    <a:pt x="35269" y="18911"/>
                    <a:pt x="35312" y="17971"/>
                    <a:pt x="35478" y="17046"/>
                  </a:cubicBezTo>
                  <a:cubicBezTo>
                    <a:pt x="35495" y="16965"/>
                    <a:pt x="35505" y="16880"/>
                    <a:pt x="35522" y="16794"/>
                  </a:cubicBezTo>
                  <a:lnTo>
                    <a:pt x="35559" y="16794"/>
                  </a:lnTo>
                  <a:cubicBezTo>
                    <a:pt x="35715" y="15639"/>
                    <a:pt x="35871" y="14478"/>
                    <a:pt x="36032" y="13318"/>
                  </a:cubicBezTo>
                  <a:cubicBezTo>
                    <a:pt x="36038" y="13286"/>
                    <a:pt x="36038" y="13258"/>
                    <a:pt x="36043" y="13226"/>
                  </a:cubicBezTo>
                  <a:cubicBezTo>
                    <a:pt x="36219" y="12083"/>
                    <a:pt x="36472" y="10949"/>
                    <a:pt x="36531" y="9794"/>
                  </a:cubicBezTo>
                  <a:cubicBezTo>
                    <a:pt x="36585" y="8693"/>
                    <a:pt x="36956" y="7634"/>
                    <a:pt x="36977" y="6538"/>
                  </a:cubicBezTo>
                  <a:cubicBezTo>
                    <a:pt x="37090" y="6098"/>
                    <a:pt x="37057" y="5619"/>
                    <a:pt x="37144" y="5180"/>
                  </a:cubicBezTo>
                  <a:cubicBezTo>
                    <a:pt x="37198" y="4922"/>
                    <a:pt x="37327" y="4379"/>
                    <a:pt x="37295" y="4287"/>
                  </a:cubicBezTo>
                  <a:lnTo>
                    <a:pt x="37295" y="4287"/>
                  </a:lnTo>
                  <a:cubicBezTo>
                    <a:pt x="37290" y="4290"/>
                    <a:pt x="37282" y="4291"/>
                    <a:pt x="37270" y="4291"/>
                  </a:cubicBezTo>
                  <a:cubicBezTo>
                    <a:pt x="37083" y="4291"/>
                    <a:pt x="36034" y="3980"/>
                    <a:pt x="35279" y="3863"/>
                  </a:cubicBezTo>
                  <a:cubicBezTo>
                    <a:pt x="27678" y="2686"/>
                    <a:pt x="20082" y="1505"/>
                    <a:pt x="12485" y="296"/>
                  </a:cubicBezTo>
                  <a:cubicBezTo>
                    <a:pt x="11858" y="198"/>
                    <a:pt x="11422" y="123"/>
                    <a:pt x="11103" y="123"/>
                  </a:cubicBezTo>
                  <a:cubicBezTo>
                    <a:pt x="10968" y="123"/>
                    <a:pt x="10854" y="136"/>
                    <a:pt x="10755" y="167"/>
                  </a:cubicBezTo>
                  <a:cubicBezTo>
                    <a:pt x="10665" y="119"/>
                    <a:pt x="10578" y="65"/>
                    <a:pt x="10497"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AZ</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57" name="Google Shape;1155;p29">
              <a:extLst>
                <a:ext uri="{FF2B5EF4-FFF2-40B4-BE49-F238E27FC236}">
                  <a16:creationId xmlns:a16="http://schemas.microsoft.com/office/drawing/2014/main" id="{95CFF18E-9B7F-7AF4-1019-7C831E8D2C70}"/>
                </a:ext>
              </a:extLst>
            </p:cNvPr>
            <p:cNvSpPr/>
            <p:nvPr/>
          </p:nvSpPr>
          <p:spPr>
            <a:xfrm>
              <a:off x="2114750" y="2234225"/>
              <a:ext cx="995625" cy="794150"/>
            </a:xfrm>
            <a:custGeom>
              <a:avLst/>
              <a:gdLst/>
              <a:ahLst/>
              <a:cxnLst/>
              <a:rect l="l" t="t" r="r" b="b"/>
              <a:pathLst>
                <a:path w="39825" h="31766" extrusionOk="0">
                  <a:moveTo>
                    <a:pt x="3713" y="0"/>
                  </a:moveTo>
                  <a:cubicBezTo>
                    <a:pt x="3703" y="5"/>
                    <a:pt x="3698" y="10"/>
                    <a:pt x="3686" y="16"/>
                  </a:cubicBezTo>
                  <a:cubicBezTo>
                    <a:pt x="3621" y="59"/>
                    <a:pt x="3557" y="112"/>
                    <a:pt x="3504" y="166"/>
                  </a:cubicBezTo>
                  <a:cubicBezTo>
                    <a:pt x="3509" y="177"/>
                    <a:pt x="3520" y="182"/>
                    <a:pt x="3525" y="194"/>
                  </a:cubicBezTo>
                  <a:cubicBezTo>
                    <a:pt x="3633" y="338"/>
                    <a:pt x="3713" y="504"/>
                    <a:pt x="3762" y="698"/>
                  </a:cubicBezTo>
                  <a:cubicBezTo>
                    <a:pt x="3621" y="913"/>
                    <a:pt x="3530" y="1220"/>
                    <a:pt x="3482" y="1622"/>
                  </a:cubicBezTo>
                  <a:cubicBezTo>
                    <a:pt x="2402" y="9981"/>
                    <a:pt x="1274" y="18341"/>
                    <a:pt x="120" y="26689"/>
                  </a:cubicBezTo>
                  <a:cubicBezTo>
                    <a:pt x="65" y="27076"/>
                    <a:pt x="135" y="27806"/>
                    <a:pt x="23" y="27892"/>
                  </a:cubicBezTo>
                  <a:cubicBezTo>
                    <a:pt x="16" y="27897"/>
                    <a:pt x="6" y="27902"/>
                    <a:pt x="1" y="27902"/>
                  </a:cubicBezTo>
                  <a:cubicBezTo>
                    <a:pt x="76" y="27957"/>
                    <a:pt x="629" y="27924"/>
                    <a:pt x="931" y="27967"/>
                  </a:cubicBezTo>
                  <a:cubicBezTo>
                    <a:pt x="3472" y="28296"/>
                    <a:pt x="6023" y="28521"/>
                    <a:pt x="8575" y="28789"/>
                  </a:cubicBezTo>
                  <a:cubicBezTo>
                    <a:pt x="8599" y="28784"/>
                    <a:pt x="8633" y="28782"/>
                    <a:pt x="8673" y="28782"/>
                  </a:cubicBezTo>
                  <a:cubicBezTo>
                    <a:pt x="9083" y="28782"/>
                    <a:pt x="10250" y="29030"/>
                    <a:pt x="10670" y="29080"/>
                  </a:cubicBezTo>
                  <a:cubicBezTo>
                    <a:pt x="13619" y="29424"/>
                    <a:pt x="16564" y="29772"/>
                    <a:pt x="19512" y="30094"/>
                  </a:cubicBezTo>
                  <a:cubicBezTo>
                    <a:pt x="22902" y="30460"/>
                    <a:pt x="26293" y="30803"/>
                    <a:pt x="29683" y="31158"/>
                  </a:cubicBezTo>
                  <a:cubicBezTo>
                    <a:pt x="29705" y="31155"/>
                    <a:pt x="29730" y="31154"/>
                    <a:pt x="29757" y="31154"/>
                  </a:cubicBezTo>
                  <a:cubicBezTo>
                    <a:pt x="30140" y="31154"/>
                    <a:pt x="30989" y="31435"/>
                    <a:pt x="31277" y="31435"/>
                  </a:cubicBezTo>
                  <a:cubicBezTo>
                    <a:pt x="31291" y="31435"/>
                    <a:pt x="31304" y="31434"/>
                    <a:pt x="31315" y="31433"/>
                  </a:cubicBezTo>
                  <a:cubicBezTo>
                    <a:pt x="31418" y="31421"/>
                    <a:pt x="31511" y="31416"/>
                    <a:pt x="31594" y="31416"/>
                  </a:cubicBezTo>
                  <a:cubicBezTo>
                    <a:pt x="31984" y="31416"/>
                    <a:pt x="32181" y="31535"/>
                    <a:pt x="32282" y="31733"/>
                  </a:cubicBezTo>
                  <a:cubicBezTo>
                    <a:pt x="32470" y="31745"/>
                    <a:pt x="32664" y="31755"/>
                    <a:pt x="32852" y="31760"/>
                  </a:cubicBezTo>
                  <a:cubicBezTo>
                    <a:pt x="32901" y="31760"/>
                    <a:pt x="32943" y="31760"/>
                    <a:pt x="32986" y="31765"/>
                  </a:cubicBezTo>
                  <a:cubicBezTo>
                    <a:pt x="33144" y="31580"/>
                    <a:pt x="33360" y="31469"/>
                    <a:pt x="33658" y="31469"/>
                  </a:cubicBezTo>
                  <a:cubicBezTo>
                    <a:pt x="33888" y="31469"/>
                    <a:pt x="34167" y="31535"/>
                    <a:pt x="34506" y="31685"/>
                  </a:cubicBezTo>
                  <a:cubicBezTo>
                    <a:pt x="34557" y="31708"/>
                    <a:pt x="34613" y="31716"/>
                    <a:pt x="34673" y="31716"/>
                  </a:cubicBezTo>
                  <a:cubicBezTo>
                    <a:pt x="34819" y="31716"/>
                    <a:pt x="34985" y="31668"/>
                    <a:pt x="35135" y="31668"/>
                  </a:cubicBezTo>
                  <a:cubicBezTo>
                    <a:pt x="35140" y="31668"/>
                    <a:pt x="35145" y="31668"/>
                    <a:pt x="35151" y="31669"/>
                  </a:cubicBezTo>
                  <a:cubicBezTo>
                    <a:pt x="36092" y="31696"/>
                    <a:pt x="37037" y="31723"/>
                    <a:pt x="37977" y="31755"/>
                  </a:cubicBezTo>
                  <a:cubicBezTo>
                    <a:pt x="37950" y="31728"/>
                    <a:pt x="37923" y="31706"/>
                    <a:pt x="37897" y="31680"/>
                  </a:cubicBezTo>
                  <a:cubicBezTo>
                    <a:pt x="37816" y="31589"/>
                    <a:pt x="37762" y="31487"/>
                    <a:pt x="37724" y="31378"/>
                  </a:cubicBezTo>
                  <a:cubicBezTo>
                    <a:pt x="37885" y="31255"/>
                    <a:pt x="37929" y="31019"/>
                    <a:pt x="37929" y="30674"/>
                  </a:cubicBezTo>
                  <a:cubicBezTo>
                    <a:pt x="37923" y="29960"/>
                    <a:pt x="37999" y="29241"/>
                    <a:pt x="38047" y="28526"/>
                  </a:cubicBezTo>
                  <a:cubicBezTo>
                    <a:pt x="38014" y="28058"/>
                    <a:pt x="38095" y="27619"/>
                    <a:pt x="38133" y="27140"/>
                  </a:cubicBezTo>
                  <a:cubicBezTo>
                    <a:pt x="38165" y="26727"/>
                    <a:pt x="38175" y="26313"/>
                    <a:pt x="38181" y="25899"/>
                  </a:cubicBezTo>
                  <a:cubicBezTo>
                    <a:pt x="38116" y="25690"/>
                    <a:pt x="38219" y="25415"/>
                    <a:pt x="38230" y="25206"/>
                  </a:cubicBezTo>
                  <a:cubicBezTo>
                    <a:pt x="38509" y="20409"/>
                    <a:pt x="38788" y="15611"/>
                    <a:pt x="39090" y="10819"/>
                  </a:cubicBezTo>
                  <a:cubicBezTo>
                    <a:pt x="39207" y="10567"/>
                    <a:pt x="39395" y="10390"/>
                    <a:pt x="39653" y="10293"/>
                  </a:cubicBezTo>
                  <a:cubicBezTo>
                    <a:pt x="39658" y="10255"/>
                    <a:pt x="39658" y="10218"/>
                    <a:pt x="39663" y="10181"/>
                  </a:cubicBezTo>
                  <a:cubicBezTo>
                    <a:pt x="39502" y="9992"/>
                    <a:pt x="39476" y="9702"/>
                    <a:pt x="39509" y="9288"/>
                  </a:cubicBezTo>
                  <a:cubicBezTo>
                    <a:pt x="39626" y="7828"/>
                    <a:pt x="39648" y="6355"/>
                    <a:pt x="39760" y="4894"/>
                  </a:cubicBezTo>
                  <a:cubicBezTo>
                    <a:pt x="39824" y="4104"/>
                    <a:pt x="39675" y="3722"/>
                    <a:pt x="38740" y="3670"/>
                  </a:cubicBezTo>
                  <a:cubicBezTo>
                    <a:pt x="35989" y="3508"/>
                    <a:pt x="33249" y="3202"/>
                    <a:pt x="30499" y="3003"/>
                  </a:cubicBezTo>
                  <a:cubicBezTo>
                    <a:pt x="30102" y="2976"/>
                    <a:pt x="29864" y="2901"/>
                    <a:pt x="29747" y="2696"/>
                  </a:cubicBezTo>
                  <a:cubicBezTo>
                    <a:pt x="29683" y="2686"/>
                    <a:pt x="29613" y="2681"/>
                    <a:pt x="29542" y="2675"/>
                  </a:cubicBezTo>
                  <a:cubicBezTo>
                    <a:pt x="29301" y="2648"/>
                    <a:pt x="29065" y="2626"/>
                    <a:pt x="28823" y="2599"/>
                  </a:cubicBezTo>
                  <a:cubicBezTo>
                    <a:pt x="28768" y="2626"/>
                    <a:pt x="28710" y="2654"/>
                    <a:pt x="28646" y="2670"/>
                  </a:cubicBezTo>
                  <a:cubicBezTo>
                    <a:pt x="27620" y="2589"/>
                    <a:pt x="26593" y="2503"/>
                    <a:pt x="25567" y="2423"/>
                  </a:cubicBezTo>
                  <a:cubicBezTo>
                    <a:pt x="24015" y="2229"/>
                    <a:pt x="22451" y="2106"/>
                    <a:pt x="20893" y="1950"/>
                  </a:cubicBezTo>
                  <a:lnTo>
                    <a:pt x="20893" y="1950"/>
                  </a:lnTo>
                  <a:cubicBezTo>
                    <a:pt x="20904" y="1972"/>
                    <a:pt x="20920" y="1987"/>
                    <a:pt x="20931" y="2009"/>
                  </a:cubicBezTo>
                  <a:cubicBezTo>
                    <a:pt x="20442" y="1950"/>
                    <a:pt x="19948" y="1897"/>
                    <a:pt x="19460" y="1843"/>
                  </a:cubicBezTo>
                  <a:lnTo>
                    <a:pt x="19460" y="1837"/>
                  </a:lnTo>
                  <a:cubicBezTo>
                    <a:pt x="19271" y="1826"/>
                    <a:pt x="19083" y="1821"/>
                    <a:pt x="18895" y="1805"/>
                  </a:cubicBezTo>
                  <a:cubicBezTo>
                    <a:pt x="17477" y="1697"/>
                    <a:pt x="16043" y="1461"/>
                    <a:pt x="14650" y="1230"/>
                  </a:cubicBezTo>
                  <a:lnTo>
                    <a:pt x="14307" y="1176"/>
                  </a:lnTo>
                  <a:cubicBezTo>
                    <a:pt x="11756" y="886"/>
                    <a:pt x="9198" y="596"/>
                    <a:pt x="6646" y="306"/>
                  </a:cubicBezTo>
                  <a:cubicBezTo>
                    <a:pt x="6185" y="229"/>
                    <a:pt x="5723" y="161"/>
                    <a:pt x="5252" y="161"/>
                  </a:cubicBezTo>
                  <a:cubicBezTo>
                    <a:pt x="5235" y="161"/>
                    <a:pt x="5218" y="161"/>
                    <a:pt x="5201" y="161"/>
                  </a:cubicBezTo>
                  <a:cubicBezTo>
                    <a:pt x="4707" y="107"/>
                    <a:pt x="4207" y="59"/>
                    <a:pt x="3713"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O</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58" name="Google Shape;1156;p29">
              <a:extLst>
                <a:ext uri="{FF2B5EF4-FFF2-40B4-BE49-F238E27FC236}">
                  <a16:creationId xmlns:a16="http://schemas.microsoft.com/office/drawing/2014/main" id="{AB644F6B-A885-C2F8-8135-85B86C954769}"/>
                </a:ext>
              </a:extLst>
            </p:cNvPr>
            <p:cNvSpPr/>
            <p:nvPr/>
          </p:nvSpPr>
          <p:spPr>
            <a:xfrm>
              <a:off x="5311075" y="2027375"/>
              <a:ext cx="576600" cy="641200"/>
            </a:xfrm>
            <a:custGeom>
              <a:avLst/>
              <a:gdLst/>
              <a:ahLst/>
              <a:cxnLst/>
              <a:rect l="l" t="t" r="r" b="b"/>
              <a:pathLst>
                <a:path w="23064" h="25648" extrusionOk="0">
                  <a:moveTo>
                    <a:pt x="21135" y="1"/>
                  </a:moveTo>
                  <a:cubicBezTo>
                    <a:pt x="20964" y="1"/>
                    <a:pt x="20786" y="55"/>
                    <a:pt x="20597" y="162"/>
                  </a:cubicBezTo>
                  <a:cubicBezTo>
                    <a:pt x="20227" y="372"/>
                    <a:pt x="19835" y="549"/>
                    <a:pt x="19422" y="737"/>
                  </a:cubicBezTo>
                  <a:cubicBezTo>
                    <a:pt x="18288" y="1252"/>
                    <a:pt x="17111" y="1784"/>
                    <a:pt x="16343" y="3009"/>
                  </a:cubicBezTo>
                  <a:cubicBezTo>
                    <a:pt x="15886" y="3734"/>
                    <a:pt x="15118" y="3858"/>
                    <a:pt x="14232" y="4003"/>
                  </a:cubicBezTo>
                  <a:cubicBezTo>
                    <a:pt x="13442" y="4126"/>
                    <a:pt x="12566" y="4266"/>
                    <a:pt x="11874" y="4890"/>
                  </a:cubicBezTo>
                  <a:cubicBezTo>
                    <a:pt x="11524" y="4734"/>
                    <a:pt x="11165" y="4652"/>
                    <a:pt x="10815" y="4578"/>
                  </a:cubicBezTo>
                  <a:cubicBezTo>
                    <a:pt x="10407" y="4491"/>
                    <a:pt x="10020" y="4406"/>
                    <a:pt x="9687" y="4196"/>
                  </a:cubicBezTo>
                  <a:cubicBezTo>
                    <a:pt x="9182" y="3869"/>
                    <a:pt x="8505" y="3498"/>
                    <a:pt x="7721" y="3498"/>
                  </a:cubicBezTo>
                  <a:cubicBezTo>
                    <a:pt x="7646" y="3498"/>
                    <a:pt x="7565" y="3504"/>
                    <a:pt x="7485" y="3509"/>
                  </a:cubicBezTo>
                  <a:cubicBezTo>
                    <a:pt x="7485" y="3509"/>
                    <a:pt x="3761" y="4416"/>
                    <a:pt x="2311" y="4545"/>
                  </a:cubicBezTo>
                  <a:cubicBezTo>
                    <a:pt x="1570" y="4610"/>
                    <a:pt x="1113" y="4647"/>
                    <a:pt x="838" y="4781"/>
                  </a:cubicBezTo>
                  <a:cubicBezTo>
                    <a:pt x="597" y="4761"/>
                    <a:pt x="361" y="4749"/>
                    <a:pt x="114" y="4739"/>
                  </a:cubicBezTo>
                  <a:cubicBezTo>
                    <a:pt x="76" y="4798"/>
                    <a:pt x="49" y="4868"/>
                    <a:pt x="22" y="4943"/>
                  </a:cubicBezTo>
                  <a:cubicBezTo>
                    <a:pt x="49" y="5577"/>
                    <a:pt x="0" y="6222"/>
                    <a:pt x="280" y="6893"/>
                  </a:cubicBezTo>
                  <a:cubicBezTo>
                    <a:pt x="307" y="6861"/>
                    <a:pt x="329" y="6834"/>
                    <a:pt x="355" y="6812"/>
                  </a:cubicBezTo>
                  <a:cubicBezTo>
                    <a:pt x="463" y="7580"/>
                    <a:pt x="587" y="8349"/>
                    <a:pt x="640" y="9123"/>
                  </a:cubicBezTo>
                  <a:cubicBezTo>
                    <a:pt x="684" y="9692"/>
                    <a:pt x="726" y="10261"/>
                    <a:pt x="774" y="10826"/>
                  </a:cubicBezTo>
                  <a:cubicBezTo>
                    <a:pt x="710" y="10836"/>
                    <a:pt x="640" y="10841"/>
                    <a:pt x="575" y="10853"/>
                  </a:cubicBezTo>
                  <a:cubicBezTo>
                    <a:pt x="796" y="12797"/>
                    <a:pt x="1016" y="14741"/>
                    <a:pt x="1237" y="16692"/>
                  </a:cubicBezTo>
                  <a:cubicBezTo>
                    <a:pt x="1237" y="17218"/>
                    <a:pt x="1225" y="17746"/>
                    <a:pt x="1220" y="18272"/>
                  </a:cubicBezTo>
                  <a:cubicBezTo>
                    <a:pt x="1199" y="19598"/>
                    <a:pt x="1398" y="20791"/>
                    <a:pt x="1790" y="22021"/>
                  </a:cubicBezTo>
                  <a:cubicBezTo>
                    <a:pt x="1812" y="22194"/>
                    <a:pt x="1827" y="22360"/>
                    <a:pt x="1849" y="22526"/>
                  </a:cubicBezTo>
                  <a:cubicBezTo>
                    <a:pt x="1902" y="22580"/>
                    <a:pt x="1892" y="22854"/>
                    <a:pt x="1892" y="22854"/>
                  </a:cubicBezTo>
                  <a:cubicBezTo>
                    <a:pt x="2005" y="22715"/>
                    <a:pt x="2268" y="22413"/>
                    <a:pt x="2429" y="22306"/>
                  </a:cubicBezTo>
                  <a:cubicBezTo>
                    <a:pt x="2632" y="22436"/>
                    <a:pt x="2874" y="22504"/>
                    <a:pt x="3166" y="22504"/>
                  </a:cubicBezTo>
                  <a:cubicBezTo>
                    <a:pt x="3246" y="22504"/>
                    <a:pt x="3330" y="22499"/>
                    <a:pt x="3417" y="22489"/>
                  </a:cubicBezTo>
                  <a:cubicBezTo>
                    <a:pt x="3520" y="22462"/>
                    <a:pt x="3627" y="22445"/>
                    <a:pt x="3746" y="22430"/>
                  </a:cubicBezTo>
                  <a:cubicBezTo>
                    <a:pt x="3767" y="22360"/>
                    <a:pt x="3778" y="22258"/>
                    <a:pt x="3821" y="22247"/>
                  </a:cubicBezTo>
                  <a:cubicBezTo>
                    <a:pt x="3844" y="22239"/>
                    <a:pt x="3865" y="22236"/>
                    <a:pt x="3885" y="22236"/>
                  </a:cubicBezTo>
                  <a:cubicBezTo>
                    <a:pt x="3979" y="22236"/>
                    <a:pt x="4021" y="22317"/>
                    <a:pt x="4030" y="22424"/>
                  </a:cubicBezTo>
                  <a:cubicBezTo>
                    <a:pt x="4197" y="22435"/>
                    <a:pt x="4314" y="22494"/>
                    <a:pt x="4299" y="22687"/>
                  </a:cubicBezTo>
                  <a:cubicBezTo>
                    <a:pt x="4317" y="22687"/>
                    <a:pt x="4334" y="22686"/>
                    <a:pt x="4351" y="22686"/>
                  </a:cubicBezTo>
                  <a:cubicBezTo>
                    <a:pt x="4512" y="22686"/>
                    <a:pt x="4621" y="22736"/>
                    <a:pt x="4572" y="22945"/>
                  </a:cubicBezTo>
                  <a:cubicBezTo>
                    <a:pt x="4635" y="22919"/>
                    <a:pt x="4690" y="22908"/>
                    <a:pt x="4740" y="22908"/>
                  </a:cubicBezTo>
                  <a:cubicBezTo>
                    <a:pt x="4917" y="22908"/>
                    <a:pt x="5019" y="23056"/>
                    <a:pt x="5100" y="23241"/>
                  </a:cubicBezTo>
                  <a:lnTo>
                    <a:pt x="5078" y="23219"/>
                  </a:lnTo>
                  <a:lnTo>
                    <a:pt x="5078" y="23219"/>
                  </a:lnTo>
                  <a:cubicBezTo>
                    <a:pt x="5502" y="24347"/>
                    <a:pt x="6727" y="24111"/>
                    <a:pt x="7500" y="24649"/>
                  </a:cubicBezTo>
                  <a:cubicBezTo>
                    <a:pt x="8000" y="24991"/>
                    <a:pt x="8505" y="25121"/>
                    <a:pt x="9002" y="25121"/>
                  </a:cubicBezTo>
                  <a:cubicBezTo>
                    <a:pt x="9835" y="25121"/>
                    <a:pt x="10642" y="24755"/>
                    <a:pt x="11353" y="24411"/>
                  </a:cubicBezTo>
                  <a:cubicBezTo>
                    <a:pt x="11735" y="24226"/>
                    <a:pt x="12008" y="24110"/>
                    <a:pt x="12248" y="24110"/>
                  </a:cubicBezTo>
                  <a:cubicBezTo>
                    <a:pt x="12510" y="24110"/>
                    <a:pt x="12734" y="24248"/>
                    <a:pt x="13023" y="24584"/>
                  </a:cubicBezTo>
                  <a:cubicBezTo>
                    <a:pt x="13114" y="24691"/>
                    <a:pt x="13216" y="24788"/>
                    <a:pt x="13324" y="24879"/>
                  </a:cubicBezTo>
                  <a:cubicBezTo>
                    <a:pt x="13647" y="25159"/>
                    <a:pt x="14022" y="25385"/>
                    <a:pt x="14361" y="25648"/>
                  </a:cubicBezTo>
                  <a:cubicBezTo>
                    <a:pt x="14463" y="25636"/>
                    <a:pt x="14559" y="25599"/>
                    <a:pt x="14656" y="25556"/>
                  </a:cubicBezTo>
                  <a:cubicBezTo>
                    <a:pt x="14869" y="25460"/>
                    <a:pt x="15076" y="25329"/>
                    <a:pt x="15313" y="25329"/>
                  </a:cubicBezTo>
                  <a:cubicBezTo>
                    <a:pt x="15368" y="25329"/>
                    <a:pt x="15425" y="25336"/>
                    <a:pt x="15484" y="25353"/>
                  </a:cubicBezTo>
                  <a:cubicBezTo>
                    <a:pt x="15414" y="24917"/>
                    <a:pt x="15623" y="24676"/>
                    <a:pt x="16032" y="24562"/>
                  </a:cubicBezTo>
                  <a:cubicBezTo>
                    <a:pt x="16317" y="23654"/>
                    <a:pt x="15844" y="22682"/>
                    <a:pt x="16310" y="21780"/>
                  </a:cubicBezTo>
                  <a:cubicBezTo>
                    <a:pt x="16489" y="21441"/>
                    <a:pt x="16626" y="21103"/>
                    <a:pt x="16893" y="21103"/>
                  </a:cubicBezTo>
                  <a:cubicBezTo>
                    <a:pt x="17017" y="21103"/>
                    <a:pt x="17169" y="21175"/>
                    <a:pt x="17366" y="21353"/>
                  </a:cubicBezTo>
                  <a:lnTo>
                    <a:pt x="17366" y="21353"/>
                  </a:lnTo>
                  <a:cubicBezTo>
                    <a:pt x="17363" y="21352"/>
                    <a:pt x="17361" y="21350"/>
                    <a:pt x="17359" y="21349"/>
                  </a:cubicBezTo>
                  <a:lnTo>
                    <a:pt x="17359" y="21349"/>
                  </a:lnTo>
                  <a:lnTo>
                    <a:pt x="17386" y="21371"/>
                  </a:lnTo>
                  <a:cubicBezTo>
                    <a:pt x="17379" y="21365"/>
                    <a:pt x="17372" y="21359"/>
                    <a:pt x="17366" y="21353"/>
                  </a:cubicBezTo>
                  <a:lnTo>
                    <a:pt x="17366" y="21353"/>
                  </a:lnTo>
                  <a:cubicBezTo>
                    <a:pt x="17532" y="21439"/>
                    <a:pt x="17688" y="21498"/>
                    <a:pt x="17806" y="21498"/>
                  </a:cubicBezTo>
                  <a:cubicBezTo>
                    <a:pt x="17987" y="21498"/>
                    <a:pt x="18078" y="21360"/>
                    <a:pt x="17981" y="20969"/>
                  </a:cubicBezTo>
                  <a:cubicBezTo>
                    <a:pt x="17837" y="20362"/>
                    <a:pt x="18003" y="19905"/>
                    <a:pt x="18427" y="19502"/>
                  </a:cubicBezTo>
                  <a:cubicBezTo>
                    <a:pt x="18433" y="19077"/>
                    <a:pt x="18599" y="18755"/>
                    <a:pt x="18997" y="18572"/>
                  </a:cubicBezTo>
                  <a:lnTo>
                    <a:pt x="19035" y="18508"/>
                  </a:lnTo>
                  <a:cubicBezTo>
                    <a:pt x="19169" y="18428"/>
                    <a:pt x="19298" y="18346"/>
                    <a:pt x="19432" y="18266"/>
                  </a:cubicBezTo>
                  <a:cubicBezTo>
                    <a:pt x="20726" y="18036"/>
                    <a:pt x="22221" y="16434"/>
                    <a:pt x="22377" y="15140"/>
                  </a:cubicBezTo>
                  <a:cubicBezTo>
                    <a:pt x="22397" y="14973"/>
                    <a:pt x="22419" y="14801"/>
                    <a:pt x="22446" y="14629"/>
                  </a:cubicBezTo>
                  <a:cubicBezTo>
                    <a:pt x="22521" y="14113"/>
                    <a:pt x="22618" y="13603"/>
                    <a:pt x="22699" y="13092"/>
                  </a:cubicBezTo>
                  <a:cubicBezTo>
                    <a:pt x="22280" y="12529"/>
                    <a:pt x="22816" y="11621"/>
                    <a:pt x="22172" y="11078"/>
                  </a:cubicBezTo>
                  <a:cubicBezTo>
                    <a:pt x="22156" y="10680"/>
                    <a:pt x="22139" y="10347"/>
                    <a:pt x="22145" y="10068"/>
                  </a:cubicBezTo>
                  <a:cubicBezTo>
                    <a:pt x="22199" y="9982"/>
                    <a:pt x="22248" y="9901"/>
                    <a:pt x="22268" y="9821"/>
                  </a:cubicBezTo>
                  <a:cubicBezTo>
                    <a:pt x="22355" y="9504"/>
                    <a:pt x="22409" y="9192"/>
                    <a:pt x="22435" y="8881"/>
                  </a:cubicBezTo>
                  <a:cubicBezTo>
                    <a:pt x="22446" y="8870"/>
                    <a:pt x="22446" y="8865"/>
                    <a:pt x="22451" y="8859"/>
                  </a:cubicBezTo>
                  <a:cubicBezTo>
                    <a:pt x="22451" y="8843"/>
                    <a:pt x="22972" y="8741"/>
                    <a:pt x="22972" y="8725"/>
                  </a:cubicBezTo>
                  <a:cubicBezTo>
                    <a:pt x="23064" y="7570"/>
                    <a:pt x="22295" y="6528"/>
                    <a:pt x="22139" y="5400"/>
                  </a:cubicBezTo>
                  <a:cubicBezTo>
                    <a:pt x="22027" y="4771"/>
                    <a:pt x="21973" y="4132"/>
                    <a:pt x="21887" y="3498"/>
                  </a:cubicBezTo>
                  <a:cubicBezTo>
                    <a:pt x="21849" y="3202"/>
                    <a:pt x="21802" y="2907"/>
                    <a:pt x="21747" y="2611"/>
                  </a:cubicBezTo>
                  <a:cubicBezTo>
                    <a:pt x="21693" y="2423"/>
                    <a:pt x="21673" y="2241"/>
                    <a:pt x="21651" y="2069"/>
                  </a:cubicBezTo>
                  <a:cubicBezTo>
                    <a:pt x="21597" y="1746"/>
                    <a:pt x="21544" y="1424"/>
                    <a:pt x="21500" y="1102"/>
                  </a:cubicBezTo>
                  <a:cubicBezTo>
                    <a:pt x="21425" y="876"/>
                    <a:pt x="21383" y="598"/>
                    <a:pt x="21194" y="543"/>
                  </a:cubicBezTo>
                  <a:cubicBezTo>
                    <a:pt x="21178" y="355"/>
                    <a:pt x="21194" y="178"/>
                    <a:pt x="21232" y="17"/>
                  </a:cubicBezTo>
                  <a:cubicBezTo>
                    <a:pt x="21200" y="11"/>
                    <a:pt x="21167" y="1"/>
                    <a:pt x="21135"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OH</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59" name="Google Shape;1157;p29">
              <a:extLst>
                <a:ext uri="{FF2B5EF4-FFF2-40B4-BE49-F238E27FC236}">
                  <a16:creationId xmlns:a16="http://schemas.microsoft.com/office/drawing/2014/main" id="{B687B579-2432-EA30-065B-FC9AA59CF993}"/>
                </a:ext>
              </a:extLst>
            </p:cNvPr>
            <p:cNvSpPr/>
            <p:nvPr/>
          </p:nvSpPr>
          <p:spPr>
            <a:xfrm>
              <a:off x="5929025" y="1330075"/>
              <a:ext cx="820225" cy="710775"/>
            </a:xfrm>
            <a:custGeom>
              <a:avLst/>
              <a:gdLst/>
              <a:ahLst/>
              <a:cxnLst/>
              <a:rect l="l" t="t" r="r" b="b"/>
              <a:pathLst>
                <a:path w="32809" h="28431" extrusionOk="0">
                  <a:moveTo>
                    <a:pt x="27044" y="1"/>
                  </a:moveTo>
                  <a:cubicBezTo>
                    <a:pt x="26840" y="1"/>
                    <a:pt x="26642" y="53"/>
                    <a:pt x="26448" y="102"/>
                  </a:cubicBezTo>
                  <a:cubicBezTo>
                    <a:pt x="26394" y="118"/>
                    <a:pt x="26340" y="135"/>
                    <a:pt x="26287" y="145"/>
                  </a:cubicBezTo>
                  <a:cubicBezTo>
                    <a:pt x="25851" y="253"/>
                    <a:pt x="25417" y="382"/>
                    <a:pt x="24998" y="511"/>
                  </a:cubicBezTo>
                  <a:cubicBezTo>
                    <a:pt x="24051" y="790"/>
                    <a:pt x="23155" y="1059"/>
                    <a:pt x="22263" y="1085"/>
                  </a:cubicBezTo>
                  <a:cubicBezTo>
                    <a:pt x="19980" y="1156"/>
                    <a:pt x="18829" y="2590"/>
                    <a:pt x="17723" y="3970"/>
                  </a:cubicBezTo>
                  <a:lnTo>
                    <a:pt x="17637" y="4077"/>
                  </a:lnTo>
                  <a:cubicBezTo>
                    <a:pt x="17106" y="4739"/>
                    <a:pt x="16778" y="5507"/>
                    <a:pt x="16461" y="6249"/>
                  </a:cubicBezTo>
                  <a:cubicBezTo>
                    <a:pt x="16005" y="7328"/>
                    <a:pt x="15569" y="8349"/>
                    <a:pt x="14542" y="8939"/>
                  </a:cubicBezTo>
                  <a:cubicBezTo>
                    <a:pt x="14237" y="9111"/>
                    <a:pt x="14065" y="9460"/>
                    <a:pt x="14103" y="9820"/>
                  </a:cubicBezTo>
                  <a:cubicBezTo>
                    <a:pt x="14140" y="10137"/>
                    <a:pt x="14339" y="10385"/>
                    <a:pt x="14613" y="10471"/>
                  </a:cubicBezTo>
                  <a:cubicBezTo>
                    <a:pt x="14973" y="10578"/>
                    <a:pt x="15005" y="10702"/>
                    <a:pt x="15032" y="11282"/>
                  </a:cubicBezTo>
                  <a:cubicBezTo>
                    <a:pt x="15043" y="11588"/>
                    <a:pt x="15058" y="11937"/>
                    <a:pt x="15214" y="12265"/>
                  </a:cubicBezTo>
                  <a:cubicBezTo>
                    <a:pt x="15284" y="12416"/>
                    <a:pt x="15355" y="12631"/>
                    <a:pt x="15295" y="12792"/>
                  </a:cubicBezTo>
                  <a:cubicBezTo>
                    <a:pt x="15226" y="12958"/>
                    <a:pt x="15016" y="13076"/>
                    <a:pt x="14849" y="13147"/>
                  </a:cubicBezTo>
                  <a:cubicBezTo>
                    <a:pt x="14393" y="13334"/>
                    <a:pt x="14022" y="13662"/>
                    <a:pt x="13721" y="14139"/>
                  </a:cubicBezTo>
                  <a:cubicBezTo>
                    <a:pt x="13211" y="14945"/>
                    <a:pt x="12394" y="15150"/>
                    <a:pt x="11443" y="15381"/>
                  </a:cubicBezTo>
                  <a:cubicBezTo>
                    <a:pt x="10815" y="15537"/>
                    <a:pt x="10170" y="15698"/>
                    <a:pt x="9585" y="16053"/>
                  </a:cubicBezTo>
                  <a:cubicBezTo>
                    <a:pt x="8876" y="15714"/>
                    <a:pt x="8160" y="15547"/>
                    <a:pt x="7398" y="15547"/>
                  </a:cubicBezTo>
                  <a:cubicBezTo>
                    <a:pt x="5883" y="15547"/>
                    <a:pt x="4438" y="16251"/>
                    <a:pt x="3278" y="16815"/>
                  </a:cubicBezTo>
                  <a:cubicBezTo>
                    <a:pt x="2724" y="17089"/>
                    <a:pt x="2343" y="17595"/>
                    <a:pt x="2262" y="18168"/>
                  </a:cubicBezTo>
                  <a:cubicBezTo>
                    <a:pt x="2182" y="18728"/>
                    <a:pt x="2385" y="19271"/>
                    <a:pt x="2821" y="19663"/>
                  </a:cubicBezTo>
                  <a:cubicBezTo>
                    <a:pt x="3530" y="20302"/>
                    <a:pt x="3551" y="20903"/>
                    <a:pt x="2886" y="21741"/>
                  </a:cubicBezTo>
                  <a:cubicBezTo>
                    <a:pt x="2192" y="22611"/>
                    <a:pt x="1440" y="23397"/>
                    <a:pt x="656" y="24074"/>
                  </a:cubicBezTo>
                  <a:cubicBezTo>
                    <a:pt x="414" y="24282"/>
                    <a:pt x="161" y="24535"/>
                    <a:pt x="0" y="24847"/>
                  </a:cubicBezTo>
                  <a:cubicBezTo>
                    <a:pt x="37" y="24847"/>
                    <a:pt x="76" y="24852"/>
                    <a:pt x="108" y="24863"/>
                  </a:cubicBezTo>
                  <a:cubicBezTo>
                    <a:pt x="263" y="24900"/>
                    <a:pt x="387" y="25008"/>
                    <a:pt x="457" y="25142"/>
                  </a:cubicBezTo>
                  <a:cubicBezTo>
                    <a:pt x="312" y="25443"/>
                    <a:pt x="307" y="25765"/>
                    <a:pt x="484" y="26174"/>
                  </a:cubicBezTo>
                  <a:cubicBezTo>
                    <a:pt x="650" y="26564"/>
                    <a:pt x="890" y="26676"/>
                    <a:pt x="1149" y="26676"/>
                  </a:cubicBezTo>
                  <a:cubicBezTo>
                    <a:pt x="1425" y="26676"/>
                    <a:pt x="1723" y="26549"/>
                    <a:pt x="1978" y="26496"/>
                  </a:cubicBezTo>
                  <a:cubicBezTo>
                    <a:pt x="4755" y="25948"/>
                    <a:pt x="7510" y="25314"/>
                    <a:pt x="10294" y="24783"/>
                  </a:cubicBezTo>
                  <a:cubicBezTo>
                    <a:pt x="10554" y="24734"/>
                    <a:pt x="10869" y="24562"/>
                    <a:pt x="11175" y="24562"/>
                  </a:cubicBezTo>
                  <a:cubicBezTo>
                    <a:pt x="11242" y="24562"/>
                    <a:pt x="11308" y="24570"/>
                    <a:pt x="11373" y="24589"/>
                  </a:cubicBezTo>
                  <a:cubicBezTo>
                    <a:pt x="11792" y="24545"/>
                    <a:pt x="12206" y="24471"/>
                    <a:pt x="12615" y="24384"/>
                  </a:cubicBezTo>
                  <a:cubicBezTo>
                    <a:pt x="12615" y="24364"/>
                    <a:pt x="12608" y="24342"/>
                    <a:pt x="12608" y="24320"/>
                  </a:cubicBezTo>
                  <a:lnTo>
                    <a:pt x="21844" y="22423"/>
                  </a:lnTo>
                  <a:cubicBezTo>
                    <a:pt x="21859" y="22418"/>
                    <a:pt x="21871" y="22413"/>
                    <a:pt x="21886" y="22413"/>
                  </a:cubicBezTo>
                  <a:cubicBezTo>
                    <a:pt x="21956" y="22397"/>
                    <a:pt x="22021" y="22386"/>
                    <a:pt x="22091" y="22370"/>
                  </a:cubicBezTo>
                  <a:cubicBezTo>
                    <a:pt x="22102" y="22483"/>
                    <a:pt x="22117" y="22584"/>
                    <a:pt x="22139" y="22681"/>
                  </a:cubicBezTo>
                  <a:cubicBezTo>
                    <a:pt x="22719" y="23584"/>
                    <a:pt x="23703" y="24255"/>
                    <a:pt x="24589" y="24808"/>
                  </a:cubicBezTo>
                  <a:cubicBezTo>
                    <a:pt x="25239" y="25217"/>
                    <a:pt x="25970" y="25743"/>
                    <a:pt x="26733" y="26040"/>
                  </a:cubicBezTo>
                  <a:cubicBezTo>
                    <a:pt x="26749" y="26045"/>
                    <a:pt x="26765" y="26050"/>
                    <a:pt x="26781" y="26055"/>
                  </a:cubicBezTo>
                  <a:cubicBezTo>
                    <a:pt x="26926" y="26098"/>
                    <a:pt x="27071" y="26142"/>
                    <a:pt x="27217" y="26184"/>
                  </a:cubicBezTo>
                  <a:cubicBezTo>
                    <a:pt x="27318" y="26211"/>
                    <a:pt x="27420" y="26233"/>
                    <a:pt x="27527" y="26244"/>
                  </a:cubicBezTo>
                  <a:cubicBezTo>
                    <a:pt x="27576" y="26249"/>
                    <a:pt x="27614" y="26281"/>
                    <a:pt x="27636" y="26318"/>
                  </a:cubicBezTo>
                  <a:cubicBezTo>
                    <a:pt x="28860" y="26700"/>
                    <a:pt x="30069" y="27114"/>
                    <a:pt x="31192" y="27699"/>
                  </a:cubicBezTo>
                  <a:cubicBezTo>
                    <a:pt x="31390" y="27801"/>
                    <a:pt x="31551" y="27860"/>
                    <a:pt x="31680" y="27893"/>
                  </a:cubicBezTo>
                  <a:cubicBezTo>
                    <a:pt x="31819" y="28049"/>
                    <a:pt x="31955" y="28220"/>
                    <a:pt x="32072" y="28425"/>
                  </a:cubicBezTo>
                  <a:lnTo>
                    <a:pt x="32077" y="28430"/>
                  </a:lnTo>
                  <a:cubicBezTo>
                    <a:pt x="32518" y="28334"/>
                    <a:pt x="32701" y="27952"/>
                    <a:pt x="32808" y="27630"/>
                  </a:cubicBezTo>
                  <a:lnTo>
                    <a:pt x="32808" y="27630"/>
                  </a:lnTo>
                  <a:cubicBezTo>
                    <a:pt x="32685" y="27651"/>
                    <a:pt x="32551" y="27667"/>
                    <a:pt x="32411" y="27667"/>
                  </a:cubicBezTo>
                  <a:lnTo>
                    <a:pt x="32406" y="27667"/>
                  </a:lnTo>
                  <a:cubicBezTo>
                    <a:pt x="32347" y="27667"/>
                    <a:pt x="32293" y="27657"/>
                    <a:pt x="32238" y="27640"/>
                  </a:cubicBezTo>
                  <a:cubicBezTo>
                    <a:pt x="32298" y="27501"/>
                    <a:pt x="32347" y="27329"/>
                    <a:pt x="32406" y="27136"/>
                  </a:cubicBezTo>
                  <a:cubicBezTo>
                    <a:pt x="32347" y="27071"/>
                    <a:pt x="32238" y="26953"/>
                    <a:pt x="32245" y="26947"/>
                  </a:cubicBezTo>
                  <a:cubicBezTo>
                    <a:pt x="32545" y="26635"/>
                    <a:pt x="32690" y="26323"/>
                    <a:pt x="32739" y="26001"/>
                  </a:cubicBezTo>
                  <a:cubicBezTo>
                    <a:pt x="32761" y="25879"/>
                    <a:pt x="32766" y="25750"/>
                    <a:pt x="32761" y="25621"/>
                  </a:cubicBezTo>
                  <a:cubicBezTo>
                    <a:pt x="32739" y="25041"/>
                    <a:pt x="32496" y="24449"/>
                    <a:pt x="32389" y="23863"/>
                  </a:cubicBezTo>
                  <a:cubicBezTo>
                    <a:pt x="32250" y="23112"/>
                    <a:pt x="32035" y="21957"/>
                    <a:pt x="31879" y="21005"/>
                  </a:cubicBezTo>
                  <a:cubicBezTo>
                    <a:pt x="31896" y="20737"/>
                    <a:pt x="31928" y="20506"/>
                    <a:pt x="31992" y="20313"/>
                  </a:cubicBezTo>
                  <a:lnTo>
                    <a:pt x="31960" y="20313"/>
                  </a:lnTo>
                  <a:cubicBezTo>
                    <a:pt x="31901" y="20313"/>
                    <a:pt x="31847" y="20302"/>
                    <a:pt x="31794" y="20286"/>
                  </a:cubicBezTo>
                  <a:cubicBezTo>
                    <a:pt x="31643" y="19110"/>
                    <a:pt x="31556" y="17927"/>
                    <a:pt x="31626" y="16730"/>
                  </a:cubicBezTo>
                  <a:cubicBezTo>
                    <a:pt x="31653" y="16273"/>
                    <a:pt x="31658" y="15815"/>
                    <a:pt x="31594" y="15371"/>
                  </a:cubicBezTo>
                  <a:cubicBezTo>
                    <a:pt x="31600" y="15354"/>
                    <a:pt x="31611" y="15338"/>
                    <a:pt x="31621" y="15327"/>
                  </a:cubicBezTo>
                  <a:cubicBezTo>
                    <a:pt x="31605" y="15322"/>
                    <a:pt x="31594" y="15311"/>
                    <a:pt x="31578" y="15306"/>
                  </a:cubicBezTo>
                  <a:cubicBezTo>
                    <a:pt x="31541" y="15048"/>
                    <a:pt x="31471" y="14801"/>
                    <a:pt x="31368" y="14553"/>
                  </a:cubicBezTo>
                  <a:cubicBezTo>
                    <a:pt x="31036" y="14365"/>
                    <a:pt x="31020" y="14070"/>
                    <a:pt x="31090" y="13742"/>
                  </a:cubicBezTo>
                  <a:cubicBezTo>
                    <a:pt x="30182" y="12738"/>
                    <a:pt x="30627" y="11421"/>
                    <a:pt x="30299" y="10283"/>
                  </a:cubicBezTo>
                  <a:cubicBezTo>
                    <a:pt x="30036" y="10191"/>
                    <a:pt x="30026" y="9971"/>
                    <a:pt x="30026" y="9745"/>
                  </a:cubicBezTo>
                  <a:cubicBezTo>
                    <a:pt x="30023" y="9745"/>
                    <a:pt x="30019" y="9745"/>
                    <a:pt x="30016" y="9745"/>
                  </a:cubicBezTo>
                  <a:cubicBezTo>
                    <a:pt x="29012" y="9745"/>
                    <a:pt x="29257" y="8986"/>
                    <a:pt x="29230" y="8397"/>
                  </a:cubicBezTo>
                  <a:cubicBezTo>
                    <a:pt x="28548" y="7484"/>
                    <a:pt x="28226" y="6485"/>
                    <a:pt x="28527" y="5346"/>
                  </a:cubicBezTo>
                  <a:cubicBezTo>
                    <a:pt x="28764" y="4437"/>
                    <a:pt x="28162" y="3658"/>
                    <a:pt x="28156" y="2788"/>
                  </a:cubicBezTo>
                  <a:cubicBezTo>
                    <a:pt x="27721" y="2439"/>
                    <a:pt x="27517" y="1875"/>
                    <a:pt x="27485" y="1429"/>
                  </a:cubicBezTo>
                  <a:cubicBezTo>
                    <a:pt x="27468" y="930"/>
                    <a:pt x="27527" y="564"/>
                    <a:pt x="27721" y="286"/>
                  </a:cubicBezTo>
                  <a:cubicBezTo>
                    <a:pt x="27710" y="274"/>
                    <a:pt x="27705" y="264"/>
                    <a:pt x="27694" y="253"/>
                  </a:cubicBezTo>
                  <a:cubicBezTo>
                    <a:pt x="27576" y="140"/>
                    <a:pt x="27371" y="1"/>
                    <a:pt x="27044"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b"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NY</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60" name="Google Shape;1158;p29">
              <a:extLst>
                <a:ext uri="{FF2B5EF4-FFF2-40B4-BE49-F238E27FC236}">
                  <a16:creationId xmlns:a16="http://schemas.microsoft.com/office/drawing/2014/main" id="{E4612418-4C21-2339-18D5-C25B2F4B56C7}"/>
                </a:ext>
              </a:extLst>
            </p:cNvPr>
            <p:cNvSpPr/>
            <p:nvPr/>
          </p:nvSpPr>
          <p:spPr>
            <a:xfrm>
              <a:off x="5840500" y="1889325"/>
              <a:ext cx="769600" cy="507500"/>
            </a:xfrm>
            <a:custGeom>
              <a:avLst/>
              <a:gdLst/>
              <a:ahLst/>
              <a:cxnLst/>
              <a:rect l="l" t="t" r="r" b="b"/>
              <a:pathLst>
                <a:path w="30784" h="20300" extrusionOk="0">
                  <a:moveTo>
                    <a:pt x="25632" y="0"/>
                  </a:moveTo>
                  <a:cubicBezTo>
                    <a:pt x="25562" y="16"/>
                    <a:pt x="25497" y="27"/>
                    <a:pt x="25427" y="43"/>
                  </a:cubicBezTo>
                  <a:cubicBezTo>
                    <a:pt x="25412" y="43"/>
                    <a:pt x="25400" y="48"/>
                    <a:pt x="25385" y="53"/>
                  </a:cubicBezTo>
                  <a:lnTo>
                    <a:pt x="16149" y="1950"/>
                  </a:lnTo>
                  <a:cubicBezTo>
                    <a:pt x="16149" y="1972"/>
                    <a:pt x="16156" y="1994"/>
                    <a:pt x="16156" y="2014"/>
                  </a:cubicBezTo>
                  <a:cubicBezTo>
                    <a:pt x="15747" y="2101"/>
                    <a:pt x="15333" y="2175"/>
                    <a:pt x="14914" y="2219"/>
                  </a:cubicBezTo>
                  <a:cubicBezTo>
                    <a:pt x="14849" y="2200"/>
                    <a:pt x="14783" y="2192"/>
                    <a:pt x="14716" y="2192"/>
                  </a:cubicBezTo>
                  <a:cubicBezTo>
                    <a:pt x="14410" y="2192"/>
                    <a:pt x="14095" y="2364"/>
                    <a:pt x="13835" y="2413"/>
                  </a:cubicBezTo>
                  <a:cubicBezTo>
                    <a:pt x="11051" y="2944"/>
                    <a:pt x="8296" y="3578"/>
                    <a:pt x="5519" y="4126"/>
                  </a:cubicBezTo>
                  <a:cubicBezTo>
                    <a:pt x="5264" y="4179"/>
                    <a:pt x="4966" y="4306"/>
                    <a:pt x="4690" y="4306"/>
                  </a:cubicBezTo>
                  <a:cubicBezTo>
                    <a:pt x="4431" y="4306"/>
                    <a:pt x="4191" y="4194"/>
                    <a:pt x="4025" y="3804"/>
                  </a:cubicBezTo>
                  <a:cubicBezTo>
                    <a:pt x="3848" y="3395"/>
                    <a:pt x="3853" y="3073"/>
                    <a:pt x="3998" y="2772"/>
                  </a:cubicBezTo>
                  <a:cubicBezTo>
                    <a:pt x="3928" y="2638"/>
                    <a:pt x="3804" y="2530"/>
                    <a:pt x="3649" y="2493"/>
                  </a:cubicBezTo>
                  <a:cubicBezTo>
                    <a:pt x="3617" y="2482"/>
                    <a:pt x="3578" y="2477"/>
                    <a:pt x="3541" y="2477"/>
                  </a:cubicBezTo>
                  <a:lnTo>
                    <a:pt x="3526" y="2477"/>
                  </a:lnTo>
                  <a:cubicBezTo>
                    <a:pt x="3337" y="2477"/>
                    <a:pt x="3166" y="2574"/>
                    <a:pt x="3063" y="2735"/>
                  </a:cubicBezTo>
                  <a:cubicBezTo>
                    <a:pt x="2779" y="3212"/>
                    <a:pt x="2403" y="3385"/>
                    <a:pt x="1999" y="3573"/>
                  </a:cubicBezTo>
                  <a:cubicBezTo>
                    <a:pt x="1699" y="3707"/>
                    <a:pt x="1381" y="3852"/>
                    <a:pt x="1124" y="4115"/>
                  </a:cubicBezTo>
                  <a:cubicBezTo>
                    <a:pt x="1059" y="4186"/>
                    <a:pt x="984" y="4250"/>
                    <a:pt x="915" y="4320"/>
                  </a:cubicBezTo>
                  <a:cubicBezTo>
                    <a:pt x="603" y="4605"/>
                    <a:pt x="194" y="4985"/>
                    <a:pt x="55" y="5539"/>
                  </a:cubicBezTo>
                  <a:cubicBezTo>
                    <a:pt x="17" y="5700"/>
                    <a:pt x="1" y="5877"/>
                    <a:pt x="17" y="6065"/>
                  </a:cubicBezTo>
                  <a:cubicBezTo>
                    <a:pt x="206" y="6120"/>
                    <a:pt x="248" y="6398"/>
                    <a:pt x="323" y="6624"/>
                  </a:cubicBezTo>
                  <a:cubicBezTo>
                    <a:pt x="367" y="6946"/>
                    <a:pt x="420" y="7268"/>
                    <a:pt x="474" y="7591"/>
                  </a:cubicBezTo>
                  <a:cubicBezTo>
                    <a:pt x="496" y="7763"/>
                    <a:pt x="516" y="7945"/>
                    <a:pt x="570" y="8133"/>
                  </a:cubicBezTo>
                  <a:cubicBezTo>
                    <a:pt x="625" y="8429"/>
                    <a:pt x="672" y="8724"/>
                    <a:pt x="710" y="9020"/>
                  </a:cubicBezTo>
                  <a:cubicBezTo>
                    <a:pt x="796" y="9654"/>
                    <a:pt x="850" y="10293"/>
                    <a:pt x="962" y="10922"/>
                  </a:cubicBezTo>
                  <a:cubicBezTo>
                    <a:pt x="1118" y="12050"/>
                    <a:pt x="1527" y="14225"/>
                    <a:pt x="1656" y="14225"/>
                  </a:cubicBezTo>
                  <a:cubicBezTo>
                    <a:pt x="1704" y="14225"/>
                    <a:pt x="1748" y="14231"/>
                    <a:pt x="1795" y="14247"/>
                  </a:cubicBezTo>
                  <a:cubicBezTo>
                    <a:pt x="2080" y="15956"/>
                    <a:pt x="2381" y="17669"/>
                    <a:pt x="2660" y="19378"/>
                  </a:cubicBezTo>
                  <a:cubicBezTo>
                    <a:pt x="2759" y="19983"/>
                    <a:pt x="2978" y="20300"/>
                    <a:pt x="3516" y="20300"/>
                  </a:cubicBezTo>
                  <a:cubicBezTo>
                    <a:pt x="3628" y="20300"/>
                    <a:pt x="3754" y="20286"/>
                    <a:pt x="3896" y="20258"/>
                  </a:cubicBezTo>
                  <a:cubicBezTo>
                    <a:pt x="5212" y="20000"/>
                    <a:pt x="6539" y="19807"/>
                    <a:pt x="7860" y="19614"/>
                  </a:cubicBezTo>
                  <a:cubicBezTo>
                    <a:pt x="7898" y="19630"/>
                    <a:pt x="7930" y="19641"/>
                    <a:pt x="7969" y="19657"/>
                  </a:cubicBezTo>
                  <a:cubicBezTo>
                    <a:pt x="8033" y="19690"/>
                    <a:pt x="8091" y="19727"/>
                    <a:pt x="8150" y="19770"/>
                  </a:cubicBezTo>
                  <a:cubicBezTo>
                    <a:pt x="8183" y="19695"/>
                    <a:pt x="8215" y="19625"/>
                    <a:pt x="8252" y="19554"/>
                  </a:cubicBezTo>
                  <a:cubicBezTo>
                    <a:pt x="8505" y="19517"/>
                    <a:pt x="8758" y="19479"/>
                    <a:pt x="9005" y="19442"/>
                  </a:cubicBezTo>
                  <a:cubicBezTo>
                    <a:pt x="10999" y="19259"/>
                    <a:pt x="12943" y="18852"/>
                    <a:pt x="14887" y="18421"/>
                  </a:cubicBezTo>
                  <a:cubicBezTo>
                    <a:pt x="15274" y="18336"/>
                    <a:pt x="15661" y="18249"/>
                    <a:pt x="16053" y="18163"/>
                  </a:cubicBezTo>
                  <a:cubicBezTo>
                    <a:pt x="16826" y="17992"/>
                    <a:pt x="17606" y="17830"/>
                    <a:pt x="18390" y="17680"/>
                  </a:cubicBezTo>
                  <a:cubicBezTo>
                    <a:pt x="19459" y="17476"/>
                    <a:pt x="20528" y="17240"/>
                    <a:pt x="21597" y="17014"/>
                  </a:cubicBezTo>
                  <a:cubicBezTo>
                    <a:pt x="23134" y="16460"/>
                    <a:pt x="24778" y="16536"/>
                    <a:pt x="26357" y="16229"/>
                  </a:cubicBezTo>
                  <a:cubicBezTo>
                    <a:pt x="26567" y="16192"/>
                    <a:pt x="26808" y="16234"/>
                    <a:pt x="26975" y="16117"/>
                  </a:cubicBezTo>
                  <a:cubicBezTo>
                    <a:pt x="27136" y="16187"/>
                    <a:pt x="27287" y="16288"/>
                    <a:pt x="27410" y="16450"/>
                  </a:cubicBezTo>
                  <a:cubicBezTo>
                    <a:pt x="27534" y="16321"/>
                    <a:pt x="27636" y="16138"/>
                    <a:pt x="27684" y="15869"/>
                  </a:cubicBezTo>
                  <a:cubicBezTo>
                    <a:pt x="27738" y="15552"/>
                    <a:pt x="27835" y="15428"/>
                    <a:pt x="28249" y="15408"/>
                  </a:cubicBezTo>
                  <a:cubicBezTo>
                    <a:pt x="28243" y="15343"/>
                    <a:pt x="28237" y="15284"/>
                    <a:pt x="28232" y="15220"/>
                  </a:cubicBezTo>
                  <a:cubicBezTo>
                    <a:pt x="28221" y="15096"/>
                    <a:pt x="28259" y="14972"/>
                    <a:pt x="28334" y="14870"/>
                  </a:cubicBezTo>
                  <a:cubicBezTo>
                    <a:pt x="28437" y="14870"/>
                    <a:pt x="28544" y="14870"/>
                    <a:pt x="28646" y="14875"/>
                  </a:cubicBezTo>
                  <a:cubicBezTo>
                    <a:pt x="28727" y="14811"/>
                    <a:pt x="28812" y="14746"/>
                    <a:pt x="28903" y="14687"/>
                  </a:cubicBezTo>
                  <a:cubicBezTo>
                    <a:pt x="28909" y="14682"/>
                    <a:pt x="28920" y="14677"/>
                    <a:pt x="28931" y="14672"/>
                  </a:cubicBezTo>
                  <a:cubicBezTo>
                    <a:pt x="29038" y="14602"/>
                    <a:pt x="29151" y="14532"/>
                    <a:pt x="29275" y="14461"/>
                  </a:cubicBezTo>
                  <a:cubicBezTo>
                    <a:pt x="29613" y="14274"/>
                    <a:pt x="29903" y="14032"/>
                    <a:pt x="30128" y="13764"/>
                  </a:cubicBezTo>
                  <a:cubicBezTo>
                    <a:pt x="30171" y="13469"/>
                    <a:pt x="30252" y="13231"/>
                    <a:pt x="30537" y="13075"/>
                  </a:cubicBezTo>
                  <a:cubicBezTo>
                    <a:pt x="30783" y="12426"/>
                    <a:pt x="30730" y="11684"/>
                    <a:pt x="30247" y="10992"/>
                  </a:cubicBezTo>
                  <a:cubicBezTo>
                    <a:pt x="29602" y="10067"/>
                    <a:pt x="28656" y="9170"/>
                    <a:pt x="28484" y="8005"/>
                  </a:cubicBezTo>
                  <a:cubicBezTo>
                    <a:pt x="28420" y="7580"/>
                    <a:pt x="28398" y="7129"/>
                    <a:pt x="28581" y="6725"/>
                  </a:cubicBezTo>
                  <a:cubicBezTo>
                    <a:pt x="28581" y="6725"/>
                    <a:pt x="28586" y="6725"/>
                    <a:pt x="28586" y="6720"/>
                  </a:cubicBezTo>
                  <a:cubicBezTo>
                    <a:pt x="28559" y="6710"/>
                    <a:pt x="28539" y="6700"/>
                    <a:pt x="28533" y="6678"/>
                  </a:cubicBezTo>
                  <a:cubicBezTo>
                    <a:pt x="28490" y="6500"/>
                    <a:pt x="28566" y="6388"/>
                    <a:pt x="28742" y="6345"/>
                  </a:cubicBezTo>
                  <a:lnTo>
                    <a:pt x="28742" y="6345"/>
                  </a:lnTo>
                  <a:cubicBezTo>
                    <a:pt x="28737" y="6388"/>
                    <a:pt x="28737" y="6430"/>
                    <a:pt x="28732" y="6468"/>
                  </a:cubicBezTo>
                  <a:lnTo>
                    <a:pt x="28829" y="6323"/>
                  </a:lnTo>
                  <a:cubicBezTo>
                    <a:pt x="28812" y="6323"/>
                    <a:pt x="28796" y="6323"/>
                    <a:pt x="28775" y="6318"/>
                  </a:cubicBezTo>
                  <a:cubicBezTo>
                    <a:pt x="28839" y="6162"/>
                    <a:pt x="28925" y="6055"/>
                    <a:pt x="29054" y="6033"/>
                  </a:cubicBezTo>
                  <a:cubicBezTo>
                    <a:pt x="29134" y="5926"/>
                    <a:pt x="29221" y="5813"/>
                    <a:pt x="29290" y="5700"/>
                  </a:cubicBezTo>
                  <a:cubicBezTo>
                    <a:pt x="29307" y="5163"/>
                    <a:pt x="29526" y="4652"/>
                    <a:pt x="29731" y="4191"/>
                  </a:cubicBezTo>
                  <a:cubicBezTo>
                    <a:pt x="29752" y="4137"/>
                    <a:pt x="29769" y="4089"/>
                    <a:pt x="29784" y="4040"/>
                  </a:cubicBezTo>
                  <a:cubicBezTo>
                    <a:pt x="29925" y="3879"/>
                    <a:pt x="30096" y="3750"/>
                    <a:pt x="30322" y="3685"/>
                  </a:cubicBezTo>
                  <a:cubicBezTo>
                    <a:pt x="30306" y="3680"/>
                    <a:pt x="30290" y="3675"/>
                    <a:pt x="30274" y="3670"/>
                  </a:cubicBezTo>
                  <a:cubicBezTo>
                    <a:pt x="29511" y="3373"/>
                    <a:pt x="28780" y="2847"/>
                    <a:pt x="28130" y="2438"/>
                  </a:cubicBezTo>
                  <a:cubicBezTo>
                    <a:pt x="27244" y="1885"/>
                    <a:pt x="26260" y="1214"/>
                    <a:pt x="25680" y="311"/>
                  </a:cubicBezTo>
                  <a:cubicBezTo>
                    <a:pt x="25658" y="214"/>
                    <a:pt x="25643" y="113"/>
                    <a:pt x="25632"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PA</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61" name="Google Shape;1159;p29">
              <a:extLst>
                <a:ext uri="{FF2B5EF4-FFF2-40B4-BE49-F238E27FC236}">
                  <a16:creationId xmlns:a16="http://schemas.microsoft.com/office/drawing/2014/main" id="{3C6FDBE9-ACA0-8C04-8A1A-2B9ACC68A2A2}"/>
                </a:ext>
              </a:extLst>
            </p:cNvPr>
            <p:cNvSpPr/>
            <p:nvPr/>
          </p:nvSpPr>
          <p:spPr>
            <a:xfrm>
              <a:off x="6546025" y="1897500"/>
              <a:ext cx="435050" cy="499100"/>
            </a:xfrm>
            <a:custGeom>
              <a:avLst/>
              <a:gdLst/>
              <a:ahLst/>
              <a:cxnLst/>
              <a:rect l="l" t="t" r="r" b="b"/>
              <a:pathLst>
                <a:path w="17402" h="19964" extrusionOk="0">
                  <a:moveTo>
                    <a:pt x="17401" y="1"/>
                  </a:moveTo>
                  <a:cubicBezTo>
                    <a:pt x="16074" y="1"/>
                    <a:pt x="14746" y="1328"/>
                    <a:pt x="13103" y="1607"/>
                  </a:cubicBezTo>
                  <a:cubicBezTo>
                    <a:pt x="12990" y="1667"/>
                    <a:pt x="12877" y="1736"/>
                    <a:pt x="12765" y="1801"/>
                  </a:cubicBezTo>
                  <a:cubicBezTo>
                    <a:pt x="12195" y="2123"/>
                    <a:pt x="11626" y="2461"/>
                    <a:pt x="10997" y="2719"/>
                  </a:cubicBezTo>
                  <a:cubicBezTo>
                    <a:pt x="10906" y="2783"/>
                    <a:pt x="10820" y="2848"/>
                    <a:pt x="10729" y="2917"/>
                  </a:cubicBezTo>
                  <a:cubicBezTo>
                    <a:pt x="10111" y="3407"/>
                    <a:pt x="9499" y="3998"/>
                    <a:pt x="8654" y="4449"/>
                  </a:cubicBezTo>
                  <a:cubicBezTo>
                    <a:pt x="8564" y="4486"/>
                    <a:pt x="8473" y="4519"/>
                    <a:pt x="8381" y="4551"/>
                  </a:cubicBezTo>
                  <a:cubicBezTo>
                    <a:pt x="8257" y="4610"/>
                    <a:pt x="8139" y="4670"/>
                    <a:pt x="8021" y="4729"/>
                  </a:cubicBezTo>
                  <a:cubicBezTo>
                    <a:pt x="7791" y="4846"/>
                    <a:pt x="7575" y="4970"/>
                    <a:pt x="7404" y="5077"/>
                  </a:cubicBezTo>
                  <a:cubicBezTo>
                    <a:pt x="7323" y="5024"/>
                    <a:pt x="7231" y="4975"/>
                    <a:pt x="7139" y="4938"/>
                  </a:cubicBezTo>
                  <a:cubicBezTo>
                    <a:pt x="6936" y="4776"/>
                    <a:pt x="6846" y="4704"/>
                    <a:pt x="6702" y="4704"/>
                  </a:cubicBezTo>
                  <a:cubicBezTo>
                    <a:pt x="6588" y="4704"/>
                    <a:pt x="6439" y="4750"/>
                    <a:pt x="6172" y="4831"/>
                  </a:cubicBezTo>
                  <a:cubicBezTo>
                    <a:pt x="6060" y="4777"/>
                    <a:pt x="5942" y="4722"/>
                    <a:pt x="5829" y="4670"/>
                  </a:cubicBezTo>
                  <a:cubicBezTo>
                    <a:pt x="4905" y="4256"/>
                    <a:pt x="3938" y="3928"/>
                    <a:pt x="2956" y="3621"/>
                  </a:cubicBezTo>
                  <a:cubicBezTo>
                    <a:pt x="2934" y="3584"/>
                    <a:pt x="2896" y="3552"/>
                    <a:pt x="2847" y="3547"/>
                  </a:cubicBezTo>
                  <a:cubicBezTo>
                    <a:pt x="2740" y="3536"/>
                    <a:pt x="2638" y="3514"/>
                    <a:pt x="2537" y="3487"/>
                  </a:cubicBezTo>
                  <a:cubicBezTo>
                    <a:pt x="2391" y="3445"/>
                    <a:pt x="2246" y="3401"/>
                    <a:pt x="2101" y="3358"/>
                  </a:cubicBezTo>
                  <a:cubicBezTo>
                    <a:pt x="1875" y="3423"/>
                    <a:pt x="1704" y="3552"/>
                    <a:pt x="1563" y="3713"/>
                  </a:cubicBezTo>
                  <a:cubicBezTo>
                    <a:pt x="1548" y="3762"/>
                    <a:pt x="1531" y="3810"/>
                    <a:pt x="1510" y="3864"/>
                  </a:cubicBezTo>
                  <a:cubicBezTo>
                    <a:pt x="1305" y="4325"/>
                    <a:pt x="1086" y="4836"/>
                    <a:pt x="1069" y="5373"/>
                  </a:cubicBezTo>
                  <a:cubicBezTo>
                    <a:pt x="1000" y="5486"/>
                    <a:pt x="913" y="5599"/>
                    <a:pt x="833" y="5706"/>
                  </a:cubicBezTo>
                  <a:cubicBezTo>
                    <a:pt x="704" y="5728"/>
                    <a:pt x="618" y="5835"/>
                    <a:pt x="554" y="5991"/>
                  </a:cubicBezTo>
                  <a:cubicBezTo>
                    <a:pt x="575" y="5996"/>
                    <a:pt x="591" y="5996"/>
                    <a:pt x="608" y="5996"/>
                  </a:cubicBezTo>
                  <a:lnTo>
                    <a:pt x="511" y="6141"/>
                  </a:lnTo>
                  <a:cubicBezTo>
                    <a:pt x="516" y="6103"/>
                    <a:pt x="516" y="6061"/>
                    <a:pt x="521" y="6018"/>
                  </a:cubicBezTo>
                  <a:lnTo>
                    <a:pt x="521" y="6018"/>
                  </a:lnTo>
                  <a:cubicBezTo>
                    <a:pt x="345" y="6061"/>
                    <a:pt x="269" y="6173"/>
                    <a:pt x="312" y="6351"/>
                  </a:cubicBezTo>
                  <a:cubicBezTo>
                    <a:pt x="318" y="6373"/>
                    <a:pt x="338" y="6383"/>
                    <a:pt x="365" y="6393"/>
                  </a:cubicBezTo>
                  <a:cubicBezTo>
                    <a:pt x="365" y="6398"/>
                    <a:pt x="360" y="6398"/>
                    <a:pt x="360" y="6398"/>
                  </a:cubicBezTo>
                  <a:cubicBezTo>
                    <a:pt x="177" y="6802"/>
                    <a:pt x="199" y="7253"/>
                    <a:pt x="263" y="7678"/>
                  </a:cubicBezTo>
                  <a:cubicBezTo>
                    <a:pt x="435" y="8843"/>
                    <a:pt x="1381" y="9740"/>
                    <a:pt x="2026" y="10665"/>
                  </a:cubicBezTo>
                  <a:cubicBezTo>
                    <a:pt x="2509" y="11357"/>
                    <a:pt x="2562" y="12099"/>
                    <a:pt x="2316" y="12748"/>
                  </a:cubicBezTo>
                  <a:cubicBezTo>
                    <a:pt x="2031" y="12904"/>
                    <a:pt x="1950" y="13142"/>
                    <a:pt x="1907" y="13437"/>
                  </a:cubicBezTo>
                  <a:cubicBezTo>
                    <a:pt x="1682" y="13705"/>
                    <a:pt x="1392" y="13947"/>
                    <a:pt x="1054" y="14134"/>
                  </a:cubicBezTo>
                  <a:cubicBezTo>
                    <a:pt x="930" y="14205"/>
                    <a:pt x="817" y="14275"/>
                    <a:pt x="710" y="14345"/>
                  </a:cubicBezTo>
                  <a:cubicBezTo>
                    <a:pt x="699" y="14350"/>
                    <a:pt x="688" y="14355"/>
                    <a:pt x="682" y="14360"/>
                  </a:cubicBezTo>
                  <a:cubicBezTo>
                    <a:pt x="591" y="14419"/>
                    <a:pt x="506" y="14484"/>
                    <a:pt x="425" y="14548"/>
                  </a:cubicBezTo>
                  <a:cubicBezTo>
                    <a:pt x="323" y="14543"/>
                    <a:pt x="216" y="14543"/>
                    <a:pt x="113" y="14543"/>
                  </a:cubicBezTo>
                  <a:cubicBezTo>
                    <a:pt x="38" y="14645"/>
                    <a:pt x="0" y="14769"/>
                    <a:pt x="11" y="14893"/>
                  </a:cubicBezTo>
                  <a:cubicBezTo>
                    <a:pt x="16" y="14957"/>
                    <a:pt x="22" y="15016"/>
                    <a:pt x="28" y="15081"/>
                  </a:cubicBezTo>
                  <a:cubicBezTo>
                    <a:pt x="216" y="16891"/>
                    <a:pt x="1230" y="18019"/>
                    <a:pt x="3117" y="18535"/>
                  </a:cubicBezTo>
                  <a:cubicBezTo>
                    <a:pt x="3207" y="18562"/>
                    <a:pt x="3293" y="18583"/>
                    <a:pt x="3385" y="18605"/>
                  </a:cubicBezTo>
                  <a:cubicBezTo>
                    <a:pt x="4094" y="18782"/>
                    <a:pt x="4411" y="18884"/>
                    <a:pt x="4481" y="19492"/>
                  </a:cubicBezTo>
                  <a:cubicBezTo>
                    <a:pt x="4513" y="19755"/>
                    <a:pt x="4728" y="19953"/>
                    <a:pt x="4997" y="19963"/>
                  </a:cubicBezTo>
                  <a:lnTo>
                    <a:pt x="5012" y="19963"/>
                  </a:lnTo>
                  <a:cubicBezTo>
                    <a:pt x="5270" y="19963"/>
                    <a:pt x="5490" y="19782"/>
                    <a:pt x="5539" y="19529"/>
                  </a:cubicBezTo>
                  <a:cubicBezTo>
                    <a:pt x="5738" y="18454"/>
                    <a:pt x="6318" y="17616"/>
                    <a:pt x="6941" y="16735"/>
                  </a:cubicBezTo>
                  <a:cubicBezTo>
                    <a:pt x="7161" y="16418"/>
                    <a:pt x="7387" y="16095"/>
                    <a:pt x="7597" y="15758"/>
                  </a:cubicBezTo>
                  <a:cubicBezTo>
                    <a:pt x="7972" y="15150"/>
                    <a:pt x="8203" y="14511"/>
                    <a:pt x="8279" y="13866"/>
                  </a:cubicBezTo>
                  <a:cubicBezTo>
                    <a:pt x="8295" y="13759"/>
                    <a:pt x="8300" y="13651"/>
                    <a:pt x="8306" y="13544"/>
                  </a:cubicBezTo>
                  <a:cubicBezTo>
                    <a:pt x="8768" y="11954"/>
                    <a:pt x="9434" y="10627"/>
                    <a:pt x="10137" y="9343"/>
                  </a:cubicBezTo>
                  <a:cubicBezTo>
                    <a:pt x="10213" y="9225"/>
                    <a:pt x="10293" y="9106"/>
                    <a:pt x="10374" y="8989"/>
                  </a:cubicBezTo>
                  <a:cubicBezTo>
                    <a:pt x="11014" y="8064"/>
                    <a:pt x="11717" y="7157"/>
                    <a:pt x="12351" y="6173"/>
                  </a:cubicBezTo>
                  <a:cubicBezTo>
                    <a:pt x="12448" y="6076"/>
                    <a:pt x="12544" y="5979"/>
                    <a:pt x="12641" y="5889"/>
                  </a:cubicBezTo>
                  <a:cubicBezTo>
                    <a:pt x="13302" y="5228"/>
                    <a:pt x="13952" y="4578"/>
                    <a:pt x="14516" y="3928"/>
                  </a:cubicBezTo>
                  <a:cubicBezTo>
                    <a:pt x="14612" y="3852"/>
                    <a:pt x="14709" y="3782"/>
                    <a:pt x="14811" y="3718"/>
                  </a:cubicBezTo>
                  <a:cubicBezTo>
                    <a:pt x="16074" y="3321"/>
                    <a:pt x="17401" y="1994"/>
                    <a:pt x="17401"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NJ</a:t>
              </a:r>
              <a:endParaRPr kumimoji="0" sz="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62" name="Google Shape;1160;p29">
              <a:extLst>
                <a:ext uri="{FF2B5EF4-FFF2-40B4-BE49-F238E27FC236}">
                  <a16:creationId xmlns:a16="http://schemas.microsoft.com/office/drawing/2014/main" id="{00FEB36E-CFA1-A44C-81D7-A7532D6F0607}"/>
                </a:ext>
              </a:extLst>
            </p:cNvPr>
            <p:cNvSpPr/>
            <p:nvPr/>
          </p:nvSpPr>
          <p:spPr>
            <a:xfrm>
              <a:off x="2921275" y="951475"/>
              <a:ext cx="891150" cy="556300"/>
            </a:xfrm>
            <a:custGeom>
              <a:avLst/>
              <a:gdLst/>
              <a:ahLst/>
              <a:cxnLst/>
              <a:rect l="l" t="t" r="r" b="b"/>
              <a:pathLst>
                <a:path w="35646" h="22252" extrusionOk="0">
                  <a:moveTo>
                    <a:pt x="1434" y="0"/>
                  </a:moveTo>
                  <a:cubicBezTo>
                    <a:pt x="1526" y="151"/>
                    <a:pt x="1536" y="370"/>
                    <a:pt x="1504" y="693"/>
                  </a:cubicBezTo>
                  <a:cubicBezTo>
                    <a:pt x="1235" y="3213"/>
                    <a:pt x="1069" y="5738"/>
                    <a:pt x="881" y="8262"/>
                  </a:cubicBezTo>
                  <a:cubicBezTo>
                    <a:pt x="859" y="8547"/>
                    <a:pt x="715" y="8891"/>
                    <a:pt x="1069" y="9105"/>
                  </a:cubicBezTo>
                  <a:lnTo>
                    <a:pt x="1069" y="10503"/>
                  </a:lnTo>
                  <a:cubicBezTo>
                    <a:pt x="317" y="12291"/>
                    <a:pt x="387" y="14161"/>
                    <a:pt x="537" y="16042"/>
                  </a:cubicBezTo>
                  <a:cubicBezTo>
                    <a:pt x="601" y="16305"/>
                    <a:pt x="601" y="16563"/>
                    <a:pt x="564" y="16816"/>
                  </a:cubicBezTo>
                  <a:cubicBezTo>
                    <a:pt x="564" y="16831"/>
                    <a:pt x="559" y="16848"/>
                    <a:pt x="559" y="16863"/>
                  </a:cubicBezTo>
                  <a:cubicBezTo>
                    <a:pt x="537" y="16997"/>
                    <a:pt x="511" y="17131"/>
                    <a:pt x="479" y="17260"/>
                  </a:cubicBezTo>
                  <a:cubicBezTo>
                    <a:pt x="452" y="17379"/>
                    <a:pt x="419" y="17492"/>
                    <a:pt x="392" y="17605"/>
                  </a:cubicBezTo>
                  <a:cubicBezTo>
                    <a:pt x="317" y="17917"/>
                    <a:pt x="247" y="18222"/>
                    <a:pt x="258" y="18539"/>
                  </a:cubicBezTo>
                  <a:cubicBezTo>
                    <a:pt x="189" y="19040"/>
                    <a:pt x="112" y="19533"/>
                    <a:pt x="33" y="20060"/>
                  </a:cubicBezTo>
                  <a:cubicBezTo>
                    <a:pt x="21" y="20065"/>
                    <a:pt x="11" y="20076"/>
                    <a:pt x="0" y="20087"/>
                  </a:cubicBezTo>
                  <a:cubicBezTo>
                    <a:pt x="16" y="20114"/>
                    <a:pt x="27" y="20141"/>
                    <a:pt x="43" y="20168"/>
                  </a:cubicBezTo>
                  <a:cubicBezTo>
                    <a:pt x="134" y="20312"/>
                    <a:pt x="253" y="20446"/>
                    <a:pt x="414" y="20560"/>
                  </a:cubicBezTo>
                  <a:cubicBezTo>
                    <a:pt x="531" y="20400"/>
                    <a:pt x="712" y="20303"/>
                    <a:pt x="1005" y="20303"/>
                  </a:cubicBezTo>
                  <a:cubicBezTo>
                    <a:pt x="1099" y="20303"/>
                    <a:pt x="1204" y="20313"/>
                    <a:pt x="1322" y="20334"/>
                  </a:cubicBezTo>
                  <a:cubicBezTo>
                    <a:pt x="1622" y="20355"/>
                    <a:pt x="1929" y="20372"/>
                    <a:pt x="2230" y="20387"/>
                  </a:cubicBezTo>
                  <a:cubicBezTo>
                    <a:pt x="2386" y="20451"/>
                    <a:pt x="2542" y="20560"/>
                    <a:pt x="2696" y="20570"/>
                  </a:cubicBezTo>
                  <a:cubicBezTo>
                    <a:pt x="6162" y="20758"/>
                    <a:pt x="9621" y="20941"/>
                    <a:pt x="13087" y="21118"/>
                  </a:cubicBezTo>
                  <a:cubicBezTo>
                    <a:pt x="20318" y="21483"/>
                    <a:pt x="27555" y="21844"/>
                    <a:pt x="34790" y="22209"/>
                  </a:cubicBezTo>
                  <a:cubicBezTo>
                    <a:pt x="34978" y="22219"/>
                    <a:pt x="35182" y="22209"/>
                    <a:pt x="35343" y="22251"/>
                  </a:cubicBezTo>
                  <a:cubicBezTo>
                    <a:pt x="35376" y="22236"/>
                    <a:pt x="35403" y="22219"/>
                    <a:pt x="35430" y="22204"/>
                  </a:cubicBezTo>
                  <a:cubicBezTo>
                    <a:pt x="35408" y="22139"/>
                    <a:pt x="35387" y="22063"/>
                    <a:pt x="35365" y="22010"/>
                  </a:cubicBezTo>
                  <a:cubicBezTo>
                    <a:pt x="35338" y="21929"/>
                    <a:pt x="35306" y="21849"/>
                    <a:pt x="35284" y="21763"/>
                  </a:cubicBezTo>
                  <a:cubicBezTo>
                    <a:pt x="35274" y="21730"/>
                    <a:pt x="35269" y="21698"/>
                    <a:pt x="35263" y="21661"/>
                  </a:cubicBezTo>
                  <a:cubicBezTo>
                    <a:pt x="35349" y="21586"/>
                    <a:pt x="35425" y="21510"/>
                    <a:pt x="35489" y="21418"/>
                  </a:cubicBezTo>
                  <a:cubicBezTo>
                    <a:pt x="35467" y="20758"/>
                    <a:pt x="35645" y="20114"/>
                    <a:pt x="35623" y="19469"/>
                  </a:cubicBezTo>
                  <a:cubicBezTo>
                    <a:pt x="35606" y="19410"/>
                    <a:pt x="35596" y="19350"/>
                    <a:pt x="35581" y="19291"/>
                  </a:cubicBezTo>
                  <a:cubicBezTo>
                    <a:pt x="35413" y="18711"/>
                    <a:pt x="35085" y="18169"/>
                    <a:pt x="35016" y="17562"/>
                  </a:cubicBezTo>
                  <a:cubicBezTo>
                    <a:pt x="34833" y="17089"/>
                    <a:pt x="34678" y="16605"/>
                    <a:pt x="34592" y="16079"/>
                  </a:cubicBezTo>
                  <a:cubicBezTo>
                    <a:pt x="34302" y="14317"/>
                    <a:pt x="34478" y="12517"/>
                    <a:pt x="34188" y="10749"/>
                  </a:cubicBezTo>
                  <a:cubicBezTo>
                    <a:pt x="34156" y="10573"/>
                    <a:pt x="34113" y="10406"/>
                    <a:pt x="34059" y="10245"/>
                  </a:cubicBezTo>
                  <a:cubicBezTo>
                    <a:pt x="34054" y="10213"/>
                    <a:pt x="34049" y="10186"/>
                    <a:pt x="34044" y="10159"/>
                  </a:cubicBezTo>
                  <a:lnTo>
                    <a:pt x="33995" y="9960"/>
                  </a:lnTo>
                  <a:cubicBezTo>
                    <a:pt x="33937" y="9708"/>
                    <a:pt x="33888" y="9653"/>
                    <a:pt x="33883" y="9648"/>
                  </a:cubicBezTo>
                  <a:cubicBezTo>
                    <a:pt x="33866" y="9648"/>
                    <a:pt x="33850" y="9643"/>
                    <a:pt x="33828" y="9638"/>
                  </a:cubicBezTo>
                  <a:cubicBezTo>
                    <a:pt x="33732" y="9407"/>
                    <a:pt x="33625" y="9170"/>
                    <a:pt x="33523" y="8929"/>
                  </a:cubicBezTo>
                  <a:cubicBezTo>
                    <a:pt x="33404" y="8735"/>
                    <a:pt x="33340" y="8520"/>
                    <a:pt x="33308" y="8289"/>
                  </a:cubicBezTo>
                  <a:cubicBezTo>
                    <a:pt x="33099" y="7538"/>
                    <a:pt x="32873" y="6801"/>
                    <a:pt x="32846" y="6011"/>
                  </a:cubicBezTo>
                  <a:cubicBezTo>
                    <a:pt x="32787" y="4330"/>
                    <a:pt x="33292" y="2772"/>
                    <a:pt x="33496" y="1139"/>
                  </a:cubicBezTo>
                  <a:lnTo>
                    <a:pt x="33248" y="1139"/>
                  </a:lnTo>
                  <a:cubicBezTo>
                    <a:pt x="33253" y="1118"/>
                    <a:pt x="33260" y="1091"/>
                    <a:pt x="33260" y="1069"/>
                  </a:cubicBezTo>
                  <a:cubicBezTo>
                    <a:pt x="33286" y="854"/>
                    <a:pt x="33442" y="687"/>
                    <a:pt x="33635" y="628"/>
                  </a:cubicBezTo>
                  <a:cubicBezTo>
                    <a:pt x="33592" y="613"/>
                    <a:pt x="33543" y="607"/>
                    <a:pt x="33496" y="607"/>
                  </a:cubicBezTo>
                  <a:lnTo>
                    <a:pt x="33491" y="607"/>
                  </a:lnTo>
                  <a:cubicBezTo>
                    <a:pt x="33243" y="607"/>
                    <a:pt x="32990" y="613"/>
                    <a:pt x="32744" y="613"/>
                  </a:cubicBezTo>
                  <a:cubicBezTo>
                    <a:pt x="32464" y="613"/>
                    <a:pt x="32179" y="607"/>
                    <a:pt x="31900" y="602"/>
                  </a:cubicBezTo>
                  <a:cubicBezTo>
                    <a:pt x="29650" y="543"/>
                    <a:pt x="27361" y="499"/>
                    <a:pt x="25153" y="462"/>
                  </a:cubicBezTo>
                  <a:cubicBezTo>
                    <a:pt x="21091" y="392"/>
                    <a:pt x="16955" y="317"/>
                    <a:pt x="12812" y="119"/>
                  </a:cubicBezTo>
                  <a:cubicBezTo>
                    <a:pt x="11466" y="227"/>
                    <a:pt x="10107" y="269"/>
                    <a:pt x="8744" y="269"/>
                  </a:cubicBezTo>
                  <a:cubicBezTo>
                    <a:pt x="6307" y="269"/>
                    <a:pt x="3856" y="134"/>
                    <a:pt x="1434" y="0"/>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ND</a:t>
              </a:r>
              <a:endParaRPr kumimoji="0"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163" name="Google Shape;1161;p29">
              <a:extLst>
                <a:ext uri="{FF2B5EF4-FFF2-40B4-BE49-F238E27FC236}">
                  <a16:creationId xmlns:a16="http://schemas.microsoft.com/office/drawing/2014/main" id="{10F2D401-0F27-79FB-FB9F-C1A6B50B18DB}"/>
                </a:ext>
              </a:extLst>
            </p:cNvPr>
            <p:cNvSpPr/>
            <p:nvPr/>
          </p:nvSpPr>
          <p:spPr>
            <a:xfrm>
              <a:off x="3740925" y="906475"/>
              <a:ext cx="901875" cy="1013375"/>
            </a:xfrm>
            <a:custGeom>
              <a:avLst/>
              <a:gdLst/>
              <a:ahLst/>
              <a:cxnLst/>
              <a:rect l="l" t="t" r="r" b="b"/>
              <a:pathLst>
                <a:path w="36075" h="40535" extrusionOk="0">
                  <a:moveTo>
                    <a:pt x="21173" y="23734"/>
                  </a:moveTo>
                  <a:cubicBezTo>
                    <a:pt x="21168" y="23739"/>
                    <a:pt x="21164" y="23743"/>
                    <a:pt x="21159" y="23747"/>
                  </a:cubicBezTo>
                  <a:lnTo>
                    <a:pt x="21159" y="23747"/>
                  </a:lnTo>
                  <a:cubicBezTo>
                    <a:pt x="21158" y="23750"/>
                    <a:pt x="21157" y="23753"/>
                    <a:pt x="21156" y="23756"/>
                  </a:cubicBezTo>
                  <a:lnTo>
                    <a:pt x="21173" y="23734"/>
                  </a:lnTo>
                  <a:close/>
                  <a:moveTo>
                    <a:pt x="10288" y="0"/>
                  </a:moveTo>
                  <a:cubicBezTo>
                    <a:pt x="10224" y="0"/>
                    <a:pt x="10159" y="0"/>
                    <a:pt x="10095" y="5"/>
                  </a:cubicBezTo>
                  <a:cubicBezTo>
                    <a:pt x="9713" y="49"/>
                    <a:pt x="9435" y="194"/>
                    <a:pt x="9257" y="441"/>
                  </a:cubicBezTo>
                  <a:cubicBezTo>
                    <a:pt x="8983" y="823"/>
                    <a:pt x="9090" y="1274"/>
                    <a:pt x="9160" y="1569"/>
                  </a:cubicBezTo>
                  <a:cubicBezTo>
                    <a:pt x="9170" y="1634"/>
                    <a:pt x="9187" y="1687"/>
                    <a:pt x="9192" y="1736"/>
                  </a:cubicBezTo>
                  <a:cubicBezTo>
                    <a:pt x="9246" y="2187"/>
                    <a:pt x="9165" y="2306"/>
                    <a:pt x="9150" y="2321"/>
                  </a:cubicBezTo>
                  <a:cubicBezTo>
                    <a:pt x="9128" y="2343"/>
                    <a:pt x="9031" y="2423"/>
                    <a:pt x="8622" y="2423"/>
                  </a:cubicBezTo>
                  <a:cubicBezTo>
                    <a:pt x="8558" y="2423"/>
                    <a:pt x="8488" y="2418"/>
                    <a:pt x="8413" y="2418"/>
                  </a:cubicBezTo>
                  <a:cubicBezTo>
                    <a:pt x="7913" y="2391"/>
                    <a:pt x="7372" y="2380"/>
                    <a:pt x="6710" y="2380"/>
                  </a:cubicBezTo>
                  <a:cubicBezTo>
                    <a:pt x="6323" y="2380"/>
                    <a:pt x="5942" y="2386"/>
                    <a:pt x="5555" y="2386"/>
                  </a:cubicBezTo>
                  <a:cubicBezTo>
                    <a:pt x="5173" y="2391"/>
                    <a:pt x="4793" y="2396"/>
                    <a:pt x="4411" y="2396"/>
                  </a:cubicBezTo>
                  <a:cubicBezTo>
                    <a:pt x="4142" y="2396"/>
                    <a:pt x="3869" y="2391"/>
                    <a:pt x="3600" y="2386"/>
                  </a:cubicBezTo>
                  <a:cubicBezTo>
                    <a:pt x="3353" y="2386"/>
                    <a:pt x="3110" y="2380"/>
                    <a:pt x="2864" y="2380"/>
                  </a:cubicBezTo>
                  <a:cubicBezTo>
                    <a:pt x="2381" y="2380"/>
                    <a:pt x="1892" y="2391"/>
                    <a:pt x="1402" y="2396"/>
                  </a:cubicBezTo>
                  <a:lnTo>
                    <a:pt x="995" y="2402"/>
                  </a:lnTo>
                  <a:cubicBezTo>
                    <a:pt x="946" y="2402"/>
                    <a:pt x="898" y="2413"/>
                    <a:pt x="849" y="2428"/>
                  </a:cubicBezTo>
                  <a:cubicBezTo>
                    <a:pt x="656" y="2487"/>
                    <a:pt x="500" y="2654"/>
                    <a:pt x="474" y="2869"/>
                  </a:cubicBezTo>
                  <a:cubicBezTo>
                    <a:pt x="474" y="2891"/>
                    <a:pt x="467" y="2918"/>
                    <a:pt x="462" y="2939"/>
                  </a:cubicBezTo>
                  <a:lnTo>
                    <a:pt x="710" y="2939"/>
                  </a:lnTo>
                  <a:cubicBezTo>
                    <a:pt x="506" y="4572"/>
                    <a:pt x="1" y="6130"/>
                    <a:pt x="60" y="7811"/>
                  </a:cubicBezTo>
                  <a:cubicBezTo>
                    <a:pt x="87" y="8601"/>
                    <a:pt x="313" y="9338"/>
                    <a:pt x="522" y="10089"/>
                  </a:cubicBezTo>
                  <a:cubicBezTo>
                    <a:pt x="554" y="10320"/>
                    <a:pt x="618" y="10535"/>
                    <a:pt x="737" y="10729"/>
                  </a:cubicBezTo>
                  <a:cubicBezTo>
                    <a:pt x="839" y="10970"/>
                    <a:pt x="946" y="11207"/>
                    <a:pt x="1042" y="11438"/>
                  </a:cubicBezTo>
                  <a:cubicBezTo>
                    <a:pt x="1064" y="11443"/>
                    <a:pt x="1080" y="11448"/>
                    <a:pt x="1097" y="11448"/>
                  </a:cubicBezTo>
                  <a:cubicBezTo>
                    <a:pt x="1102" y="11453"/>
                    <a:pt x="1151" y="11508"/>
                    <a:pt x="1209" y="11760"/>
                  </a:cubicBezTo>
                  <a:lnTo>
                    <a:pt x="1258" y="11959"/>
                  </a:lnTo>
                  <a:cubicBezTo>
                    <a:pt x="1263" y="11986"/>
                    <a:pt x="1268" y="12013"/>
                    <a:pt x="1273" y="12045"/>
                  </a:cubicBezTo>
                  <a:cubicBezTo>
                    <a:pt x="1327" y="12206"/>
                    <a:pt x="1370" y="12373"/>
                    <a:pt x="1402" y="12549"/>
                  </a:cubicBezTo>
                  <a:cubicBezTo>
                    <a:pt x="1692" y="14317"/>
                    <a:pt x="1516" y="16117"/>
                    <a:pt x="1806" y="17879"/>
                  </a:cubicBezTo>
                  <a:cubicBezTo>
                    <a:pt x="1892" y="18405"/>
                    <a:pt x="2047" y="18889"/>
                    <a:pt x="2230" y="19362"/>
                  </a:cubicBezTo>
                  <a:cubicBezTo>
                    <a:pt x="2299" y="19969"/>
                    <a:pt x="2627" y="20511"/>
                    <a:pt x="2795" y="21091"/>
                  </a:cubicBezTo>
                  <a:cubicBezTo>
                    <a:pt x="2810" y="21150"/>
                    <a:pt x="2820" y="21210"/>
                    <a:pt x="2837" y="21269"/>
                  </a:cubicBezTo>
                  <a:cubicBezTo>
                    <a:pt x="2859" y="21914"/>
                    <a:pt x="2681" y="22558"/>
                    <a:pt x="2703" y="23218"/>
                  </a:cubicBezTo>
                  <a:cubicBezTo>
                    <a:pt x="2639" y="23310"/>
                    <a:pt x="2563" y="23386"/>
                    <a:pt x="2477" y="23461"/>
                  </a:cubicBezTo>
                  <a:cubicBezTo>
                    <a:pt x="2483" y="23498"/>
                    <a:pt x="2488" y="23530"/>
                    <a:pt x="2498" y="23563"/>
                  </a:cubicBezTo>
                  <a:cubicBezTo>
                    <a:pt x="2520" y="23649"/>
                    <a:pt x="2552" y="23729"/>
                    <a:pt x="2579" y="23810"/>
                  </a:cubicBezTo>
                  <a:cubicBezTo>
                    <a:pt x="2601" y="23863"/>
                    <a:pt x="2622" y="23939"/>
                    <a:pt x="2644" y="24004"/>
                  </a:cubicBezTo>
                  <a:cubicBezTo>
                    <a:pt x="2654" y="24036"/>
                    <a:pt x="2659" y="24068"/>
                    <a:pt x="2666" y="24095"/>
                  </a:cubicBezTo>
                  <a:cubicBezTo>
                    <a:pt x="2815" y="24170"/>
                    <a:pt x="2896" y="24331"/>
                    <a:pt x="2827" y="24681"/>
                  </a:cubicBezTo>
                  <a:cubicBezTo>
                    <a:pt x="2031" y="25502"/>
                    <a:pt x="2009" y="26216"/>
                    <a:pt x="2359" y="26883"/>
                  </a:cubicBezTo>
                  <a:cubicBezTo>
                    <a:pt x="2569" y="27280"/>
                    <a:pt x="2912" y="27661"/>
                    <a:pt x="3299" y="28033"/>
                  </a:cubicBezTo>
                  <a:cubicBezTo>
                    <a:pt x="3606" y="28457"/>
                    <a:pt x="3557" y="28946"/>
                    <a:pt x="3557" y="29429"/>
                  </a:cubicBezTo>
                  <a:cubicBezTo>
                    <a:pt x="3551" y="31948"/>
                    <a:pt x="3450" y="34474"/>
                    <a:pt x="3589" y="36988"/>
                  </a:cubicBezTo>
                  <a:cubicBezTo>
                    <a:pt x="3648" y="38035"/>
                    <a:pt x="3504" y="39040"/>
                    <a:pt x="3331" y="40039"/>
                  </a:cubicBezTo>
                  <a:cubicBezTo>
                    <a:pt x="3353" y="40195"/>
                    <a:pt x="3385" y="40334"/>
                    <a:pt x="3433" y="40458"/>
                  </a:cubicBezTo>
                  <a:cubicBezTo>
                    <a:pt x="3589" y="40383"/>
                    <a:pt x="3755" y="40329"/>
                    <a:pt x="3943" y="40297"/>
                  </a:cubicBezTo>
                  <a:cubicBezTo>
                    <a:pt x="4042" y="40475"/>
                    <a:pt x="4223" y="40535"/>
                    <a:pt x="4553" y="40535"/>
                  </a:cubicBezTo>
                  <a:cubicBezTo>
                    <a:pt x="4781" y="40535"/>
                    <a:pt x="5079" y="40506"/>
                    <a:pt x="5470" y="40470"/>
                  </a:cubicBezTo>
                  <a:cubicBezTo>
                    <a:pt x="5631" y="40405"/>
                    <a:pt x="5792" y="40361"/>
                    <a:pt x="5947" y="40329"/>
                  </a:cubicBezTo>
                  <a:cubicBezTo>
                    <a:pt x="6222" y="40346"/>
                    <a:pt x="6490" y="40361"/>
                    <a:pt x="6759" y="40361"/>
                  </a:cubicBezTo>
                  <a:cubicBezTo>
                    <a:pt x="7092" y="40361"/>
                    <a:pt x="7377" y="40341"/>
                    <a:pt x="7645" y="40297"/>
                  </a:cubicBezTo>
                  <a:cubicBezTo>
                    <a:pt x="7784" y="40308"/>
                    <a:pt x="7925" y="40319"/>
                    <a:pt x="8069" y="40324"/>
                  </a:cubicBezTo>
                  <a:cubicBezTo>
                    <a:pt x="14887" y="40141"/>
                    <a:pt x="21699" y="39947"/>
                    <a:pt x="28517" y="39798"/>
                  </a:cubicBezTo>
                  <a:cubicBezTo>
                    <a:pt x="28833" y="39786"/>
                    <a:pt x="29026" y="39739"/>
                    <a:pt x="29134" y="39625"/>
                  </a:cubicBezTo>
                  <a:cubicBezTo>
                    <a:pt x="29268" y="39496"/>
                    <a:pt x="29279" y="39287"/>
                    <a:pt x="29214" y="38948"/>
                  </a:cubicBezTo>
                  <a:cubicBezTo>
                    <a:pt x="29134" y="38529"/>
                    <a:pt x="29177" y="38078"/>
                    <a:pt x="29167" y="37643"/>
                  </a:cubicBezTo>
                  <a:cubicBezTo>
                    <a:pt x="28989" y="37514"/>
                    <a:pt x="28720" y="37428"/>
                    <a:pt x="28882" y="37128"/>
                  </a:cubicBezTo>
                  <a:lnTo>
                    <a:pt x="28882" y="37128"/>
                  </a:lnTo>
                  <a:cubicBezTo>
                    <a:pt x="28828" y="37136"/>
                    <a:pt x="28777" y="37140"/>
                    <a:pt x="28729" y="37140"/>
                  </a:cubicBezTo>
                  <a:cubicBezTo>
                    <a:pt x="28396" y="37140"/>
                    <a:pt x="28192" y="36947"/>
                    <a:pt x="28103" y="36585"/>
                  </a:cubicBezTo>
                  <a:cubicBezTo>
                    <a:pt x="28058" y="36592"/>
                    <a:pt x="28014" y="36595"/>
                    <a:pt x="27973" y="36595"/>
                  </a:cubicBezTo>
                  <a:cubicBezTo>
                    <a:pt x="27570" y="36595"/>
                    <a:pt x="27327" y="36287"/>
                    <a:pt x="27044" y="36047"/>
                  </a:cubicBezTo>
                  <a:cubicBezTo>
                    <a:pt x="26776" y="35908"/>
                    <a:pt x="26318" y="35811"/>
                    <a:pt x="26276" y="35623"/>
                  </a:cubicBezTo>
                  <a:cubicBezTo>
                    <a:pt x="25986" y="34274"/>
                    <a:pt x="24783" y="33974"/>
                    <a:pt x="23836" y="33367"/>
                  </a:cubicBezTo>
                  <a:cubicBezTo>
                    <a:pt x="23531" y="32680"/>
                    <a:pt x="22586" y="32943"/>
                    <a:pt x="22236" y="32320"/>
                  </a:cubicBezTo>
                  <a:cubicBezTo>
                    <a:pt x="22169" y="32349"/>
                    <a:pt x="22110" y="32362"/>
                    <a:pt x="22057" y="32362"/>
                  </a:cubicBezTo>
                  <a:cubicBezTo>
                    <a:pt x="21878" y="32362"/>
                    <a:pt x="21775" y="32212"/>
                    <a:pt x="21688" y="32030"/>
                  </a:cubicBezTo>
                  <a:lnTo>
                    <a:pt x="21688" y="32030"/>
                  </a:lnTo>
                  <a:lnTo>
                    <a:pt x="21709" y="32050"/>
                  </a:lnTo>
                  <a:cubicBezTo>
                    <a:pt x="21135" y="30659"/>
                    <a:pt x="21483" y="29209"/>
                    <a:pt x="21500" y="27796"/>
                  </a:cubicBezTo>
                  <a:cubicBezTo>
                    <a:pt x="21505" y="27248"/>
                    <a:pt x="21425" y="26716"/>
                    <a:pt x="21425" y="26174"/>
                  </a:cubicBezTo>
                  <a:cubicBezTo>
                    <a:pt x="21390" y="26178"/>
                    <a:pt x="21355" y="26179"/>
                    <a:pt x="21320" y="26179"/>
                  </a:cubicBezTo>
                  <a:cubicBezTo>
                    <a:pt x="20888" y="26179"/>
                    <a:pt x="20566" y="25875"/>
                    <a:pt x="20705" y="25556"/>
                  </a:cubicBezTo>
                  <a:cubicBezTo>
                    <a:pt x="20965" y="24964"/>
                    <a:pt x="20651" y="24247"/>
                    <a:pt x="21159" y="23747"/>
                  </a:cubicBezTo>
                  <a:lnTo>
                    <a:pt x="21159" y="23747"/>
                  </a:lnTo>
                  <a:cubicBezTo>
                    <a:pt x="21253" y="23493"/>
                    <a:pt x="21476" y="23483"/>
                    <a:pt x="21694" y="23466"/>
                  </a:cubicBezTo>
                  <a:cubicBezTo>
                    <a:pt x="21790" y="23218"/>
                    <a:pt x="22016" y="23218"/>
                    <a:pt x="22231" y="23203"/>
                  </a:cubicBezTo>
                  <a:cubicBezTo>
                    <a:pt x="22328" y="22950"/>
                    <a:pt x="22559" y="22950"/>
                    <a:pt x="22773" y="22935"/>
                  </a:cubicBezTo>
                  <a:cubicBezTo>
                    <a:pt x="22951" y="22757"/>
                    <a:pt x="23127" y="22585"/>
                    <a:pt x="23300" y="22407"/>
                  </a:cubicBezTo>
                  <a:cubicBezTo>
                    <a:pt x="23305" y="21301"/>
                    <a:pt x="23332" y="20200"/>
                    <a:pt x="23300" y="19093"/>
                  </a:cubicBezTo>
                  <a:cubicBezTo>
                    <a:pt x="23283" y="18524"/>
                    <a:pt x="23402" y="18068"/>
                    <a:pt x="23853" y="17681"/>
                  </a:cubicBezTo>
                  <a:cubicBezTo>
                    <a:pt x="23896" y="17649"/>
                    <a:pt x="23933" y="17610"/>
                    <a:pt x="23977" y="17578"/>
                  </a:cubicBezTo>
                  <a:cubicBezTo>
                    <a:pt x="24094" y="17545"/>
                    <a:pt x="24235" y="17525"/>
                    <a:pt x="24391" y="17525"/>
                  </a:cubicBezTo>
                  <a:cubicBezTo>
                    <a:pt x="24513" y="17525"/>
                    <a:pt x="24649" y="17540"/>
                    <a:pt x="24793" y="17567"/>
                  </a:cubicBezTo>
                  <a:cubicBezTo>
                    <a:pt x="25507" y="16923"/>
                    <a:pt x="26201" y="16246"/>
                    <a:pt x="26878" y="15591"/>
                  </a:cubicBezTo>
                  <a:cubicBezTo>
                    <a:pt x="29177" y="13350"/>
                    <a:pt x="31353" y="11239"/>
                    <a:pt x="34361" y="10127"/>
                  </a:cubicBezTo>
                  <a:cubicBezTo>
                    <a:pt x="34763" y="9977"/>
                    <a:pt x="35097" y="9719"/>
                    <a:pt x="35425" y="9467"/>
                  </a:cubicBezTo>
                  <a:cubicBezTo>
                    <a:pt x="35559" y="9365"/>
                    <a:pt x="35698" y="9256"/>
                    <a:pt x="35844" y="9155"/>
                  </a:cubicBezTo>
                  <a:cubicBezTo>
                    <a:pt x="35988" y="9058"/>
                    <a:pt x="36075" y="8892"/>
                    <a:pt x="36075" y="8714"/>
                  </a:cubicBezTo>
                  <a:cubicBezTo>
                    <a:pt x="36075" y="8537"/>
                    <a:pt x="35988" y="8371"/>
                    <a:pt x="35839" y="8274"/>
                  </a:cubicBezTo>
                  <a:cubicBezTo>
                    <a:pt x="35623" y="8128"/>
                    <a:pt x="35398" y="8053"/>
                    <a:pt x="35162" y="8053"/>
                  </a:cubicBezTo>
                  <a:cubicBezTo>
                    <a:pt x="34785" y="8053"/>
                    <a:pt x="34500" y="8242"/>
                    <a:pt x="34292" y="8381"/>
                  </a:cubicBezTo>
                  <a:cubicBezTo>
                    <a:pt x="34259" y="8403"/>
                    <a:pt x="34216" y="8430"/>
                    <a:pt x="34178" y="8456"/>
                  </a:cubicBezTo>
                  <a:cubicBezTo>
                    <a:pt x="33474" y="7817"/>
                    <a:pt x="32685" y="7731"/>
                    <a:pt x="31998" y="7731"/>
                  </a:cubicBezTo>
                  <a:cubicBezTo>
                    <a:pt x="31852" y="7731"/>
                    <a:pt x="31708" y="7731"/>
                    <a:pt x="31562" y="7736"/>
                  </a:cubicBezTo>
                  <a:cubicBezTo>
                    <a:pt x="31428" y="7741"/>
                    <a:pt x="31289" y="7741"/>
                    <a:pt x="31153" y="7741"/>
                  </a:cubicBezTo>
                  <a:cubicBezTo>
                    <a:pt x="31031" y="7741"/>
                    <a:pt x="30902" y="7741"/>
                    <a:pt x="30778" y="7731"/>
                  </a:cubicBezTo>
                  <a:cubicBezTo>
                    <a:pt x="30746" y="7726"/>
                    <a:pt x="30709" y="7726"/>
                    <a:pt x="30670" y="7726"/>
                  </a:cubicBezTo>
                  <a:cubicBezTo>
                    <a:pt x="30558" y="7726"/>
                    <a:pt x="30444" y="7741"/>
                    <a:pt x="30348" y="7753"/>
                  </a:cubicBezTo>
                  <a:cubicBezTo>
                    <a:pt x="30290" y="7758"/>
                    <a:pt x="30235" y="7769"/>
                    <a:pt x="30181" y="7769"/>
                  </a:cubicBezTo>
                  <a:cubicBezTo>
                    <a:pt x="29935" y="7328"/>
                    <a:pt x="29613" y="7102"/>
                    <a:pt x="29219" y="7102"/>
                  </a:cubicBezTo>
                  <a:cubicBezTo>
                    <a:pt x="28892" y="7102"/>
                    <a:pt x="28624" y="7263"/>
                    <a:pt x="28388" y="7404"/>
                  </a:cubicBezTo>
                  <a:cubicBezTo>
                    <a:pt x="28339" y="7436"/>
                    <a:pt x="28285" y="7468"/>
                    <a:pt x="28237" y="7495"/>
                  </a:cubicBezTo>
                  <a:lnTo>
                    <a:pt x="28205" y="7511"/>
                  </a:lnTo>
                  <a:cubicBezTo>
                    <a:pt x="27340" y="7994"/>
                    <a:pt x="26813" y="8284"/>
                    <a:pt x="26459" y="8284"/>
                  </a:cubicBezTo>
                  <a:cubicBezTo>
                    <a:pt x="26061" y="8284"/>
                    <a:pt x="25545" y="7897"/>
                    <a:pt x="24525" y="7129"/>
                  </a:cubicBezTo>
                  <a:lnTo>
                    <a:pt x="24277" y="6941"/>
                  </a:lnTo>
                  <a:cubicBezTo>
                    <a:pt x="24235" y="6909"/>
                    <a:pt x="24191" y="6871"/>
                    <a:pt x="24154" y="6834"/>
                  </a:cubicBezTo>
                  <a:cubicBezTo>
                    <a:pt x="23987" y="6678"/>
                    <a:pt x="23756" y="6464"/>
                    <a:pt x="23417" y="6464"/>
                  </a:cubicBezTo>
                  <a:cubicBezTo>
                    <a:pt x="23144" y="6464"/>
                    <a:pt x="22902" y="6598"/>
                    <a:pt x="22693" y="6866"/>
                  </a:cubicBezTo>
                  <a:cubicBezTo>
                    <a:pt x="22612" y="6963"/>
                    <a:pt x="22554" y="7022"/>
                    <a:pt x="22515" y="7059"/>
                  </a:cubicBezTo>
                  <a:cubicBezTo>
                    <a:pt x="22467" y="6995"/>
                    <a:pt x="22392" y="6883"/>
                    <a:pt x="22279" y="6689"/>
                  </a:cubicBezTo>
                  <a:cubicBezTo>
                    <a:pt x="21587" y="5464"/>
                    <a:pt x="20280" y="4706"/>
                    <a:pt x="18879" y="4706"/>
                  </a:cubicBezTo>
                  <a:cubicBezTo>
                    <a:pt x="18250" y="4706"/>
                    <a:pt x="17622" y="4862"/>
                    <a:pt x="17074" y="5163"/>
                  </a:cubicBezTo>
                  <a:cubicBezTo>
                    <a:pt x="16832" y="5297"/>
                    <a:pt x="16596" y="5373"/>
                    <a:pt x="16423" y="5373"/>
                  </a:cubicBezTo>
                  <a:cubicBezTo>
                    <a:pt x="16370" y="5373"/>
                    <a:pt x="16326" y="5361"/>
                    <a:pt x="16294" y="5351"/>
                  </a:cubicBezTo>
                  <a:cubicBezTo>
                    <a:pt x="15215" y="4840"/>
                    <a:pt x="14087" y="4659"/>
                    <a:pt x="12996" y="4476"/>
                  </a:cubicBezTo>
                  <a:cubicBezTo>
                    <a:pt x="12808" y="4443"/>
                    <a:pt x="12619" y="4411"/>
                    <a:pt x="12432" y="4379"/>
                  </a:cubicBezTo>
                  <a:cubicBezTo>
                    <a:pt x="12222" y="4347"/>
                    <a:pt x="11981" y="4213"/>
                    <a:pt x="11910" y="4099"/>
                  </a:cubicBezTo>
                  <a:cubicBezTo>
                    <a:pt x="11900" y="4084"/>
                    <a:pt x="11890" y="4062"/>
                    <a:pt x="11910" y="4002"/>
                  </a:cubicBezTo>
                  <a:cubicBezTo>
                    <a:pt x="12136" y="3315"/>
                    <a:pt x="11975" y="2730"/>
                    <a:pt x="11835" y="2214"/>
                  </a:cubicBezTo>
                  <a:cubicBezTo>
                    <a:pt x="11766" y="1956"/>
                    <a:pt x="11701" y="1714"/>
                    <a:pt x="11696" y="1483"/>
                  </a:cubicBezTo>
                  <a:cubicBezTo>
                    <a:pt x="11659" y="581"/>
                    <a:pt x="11104" y="0"/>
                    <a:pt x="10288"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N</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64" name="Google Shape;1162;p29">
              <a:extLst>
                <a:ext uri="{FF2B5EF4-FFF2-40B4-BE49-F238E27FC236}">
                  <a16:creationId xmlns:a16="http://schemas.microsoft.com/office/drawing/2014/main" id="{D5FE38B4-6137-F834-AB47-7568122896EC}"/>
                </a:ext>
              </a:extLst>
            </p:cNvPr>
            <p:cNvSpPr/>
            <p:nvPr/>
          </p:nvSpPr>
          <p:spPr>
            <a:xfrm>
              <a:off x="4666025" y="2829850"/>
              <a:ext cx="4175" cy="3625"/>
            </a:xfrm>
            <a:custGeom>
              <a:avLst/>
              <a:gdLst/>
              <a:ahLst/>
              <a:cxnLst/>
              <a:rect l="l" t="t" r="r" b="b"/>
              <a:pathLst>
                <a:path w="167" h="145" extrusionOk="0">
                  <a:moveTo>
                    <a:pt x="87" y="1"/>
                  </a:moveTo>
                  <a:cubicBezTo>
                    <a:pt x="60" y="38"/>
                    <a:pt x="27" y="70"/>
                    <a:pt x="0" y="108"/>
                  </a:cubicBezTo>
                  <a:cubicBezTo>
                    <a:pt x="27" y="124"/>
                    <a:pt x="55" y="135"/>
                    <a:pt x="80" y="145"/>
                  </a:cubicBezTo>
                  <a:cubicBezTo>
                    <a:pt x="107" y="124"/>
                    <a:pt x="134" y="102"/>
                    <a:pt x="167" y="75"/>
                  </a:cubicBezTo>
                  <a:cubicBezTo>
                    <a:pt x="140" y="48"/>
                    <a:pt x="113" y="28"/>
                    <a:pt x="87"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65" name="Google Shape;1163;p29">
              <a:extLst>
                <a:ext uri="{FF2B5EF4-FFF2-40B4-BE49-F238E27FC236}">
                  <a16:creationId xmlns:a16="http://schemas.microsoft.com/office/drawing/2014/main" id="{A0384556-3189-980E-814D-BCA3E3D7E0B3}"/>
                </a:ext>
              </a:extLst>
            </p:cNvPr>
            <p:cNvSpPr/>
            <p:nvPr/>
          </p:nvSpPr>
          <p:spPr>
            <a:xfrm>
              <a:off x="733450" y="1799325"/>
              <a:ext cx="871125" cy="1335825"/>
            </a:xfrm>
            <a:custGeom>
              <a:avLst/>
              <a:gdLst/>
              <a:ahLst/>
              <a:cxnLst/>
              <a:rect l="l" t="t" r="r" b="b"/>
              <a:pathLst>
                <a:path w="34845" h="53433" extrusionOk="0">
                  <a:moveTo>
                    <a:pt x="5458" y="1"/>
                  </a:moveTo>
                  <a:cubicBezTo>
                    <a:pt x="5324" y="33"/>
                    <a:pt x="5205" y="87"/>
                    <a:pt x="5108" y="151"/>
                  </a:cubicBezTo>
                  <a:cubicBezTo>
                    <a:pt x="4937" y="269"/>
                    <a:pt x="4818" y="425"/>
                    <a:pt x="4727" y="598"/>
                  </a:cubicBezTo>
                  <a:cubicBezTo>
                    <a:pt x="4808" y="828"/>
                    <a:pt x="4786" y="1134"/>
                    <a:pt x="4674" y="1558"/>
                  </a:cubicBezTo>
                  <a:cubicBezTo>
                    <a:pt x="3132" y="7548"/>
                    <a:pt x="1687" y="13566"/>
                    <a:pt x="161" y="19561"/>
                  </a:cubicBezTo>
                  <a:cubicBezTo>
                    <a:pt x="43" y="20034"/>
                    <a:pt x="0" y="20431"/>
                    <a:pt x="129" y="20759"/>
                  </a:cubicBezTo>
                  <a:cubicBezTo>
                    <a:pt x="134" y="20786"/>
                    <a:pt x="129" y="20801"/>
                    <a:pt x="139" y="20828"/>
                  </a:cubicBezTo>
                  <a:cubicBezTo>
                    <a:pt x="1875" y="25830"/>
                    <a:pt x="5604" y="30719"/>
                    <a:pt x="8659" y="35011"/>
                  </a:cubicBezTo>
                  <a:cubicBezTo>
                    <a:pt x="10422" y="37488"/>
                    <a:pt x="12539" y="39696"/>
                    <a:pt x="14381" y="42114"/>
                  </a:cubicBezTo>
                  <a:cubicBezTo>
                    <a:pt x="16035" y="44279"/>
                    <a:pt x="17255" y="46706"/>
                    <a:pt x="19045" y="48780"/>
                  </a:cubicBezTo>
                  <a:cubicBezTo>
                    <a:pt x="19055" y="48796"/>
                    <a:pt x="19071" y="48801"/>
                    <a:pt x="19087" y="48812"/>
                  </a:cubicBezTo>
                  <a:cubicBezTo>
                    <a:pt x="19174" y="48957"/>
                    <a:pt x="19291" y="49086"/>
                    <a:pt x="19464" y="49173"/>
                  </a:cubicBezTo>
                  <a:cubicBezTo>
                    <a:pt x="19539" y="49511"/>
                    <a:pt x="19678" y="49801"/>
                    <a:pt x="20000" y="49979"/>
                  </a:cubicBezTo>
                  <a:cubicBezTo>
                    <a:pt x="20081" y="50306"/>
                    <a:pt x="20221" y="50596"/>
                    <a:pt x="20528" y="50773"/>
                  </a:cubicBezTo>
                  <a:cubicBezTo>
                    <a:pt x="20533" y="51068"/>
                    <a:pt x="20769" y="51122"/>
                    <a:pt x="20984" y="51197"/>
                  </a:cubicBezTo>
                  <a:cubicBezTo>
                    <a:pt x="21252" y="51429"/>
                    <a:pt x="21462" y="51708"/>
                    <a:pt x="21623" y="52009"/>
                  </a:cubicBezTo>
                  <a:cubicBezTo>
                    <a:pt x="21720" y="52191"/>
                    <a:pt x="21795" y="52385"/>
                    <a:pt x="21859" y="52590"/>
                  </a:cubicBezTo>
                  <a:cubicBezTo>
                    <a:pt x="21869" y="52755"/>
                    <a:pt x="21879" y="52922"/>
                    <a:pt x="22076" y="52922"/>
                  </a:cubicBezTo>
                  <a:cubicBezTo>
                    <a:pt x="22095" y="52922"/>
                    <a:pt x="22116" y="52920"/>
                    <a:pt x="22139" y="52917"/>
                  </a:cubicBezTo>
                  <a:cubicBezTo>
                    <a:pt x="22192" y="53088"/>
                    <a:pt x="22236" y="53260"/>
                    <a:pt x="22268" y="53433"/>
                  </a:cubicBezTo>
                  <a:cubicBezTo>
                    <a:pt x="22311" y="53428"/>
                    <a:pt x="22348" y="53416"/>
                    <a:pt x="22385" y="53401"/>
                  </a:cubicBezTo>
                  <a:cubicBezTo>
                    <a:pt x="22385" y="53395"/>
                    <a:pt x="22385" y="53395"/>
                    <a:pt x="22391" y="53395"/>
                  </a:cubicBezTo>
                  <a:cubicBezTo>
                    <a:pt x="22547" y="53363"/>
                    <a:pt x="22687" y="53309"/>
                    <a:pt x="22816" y="53239"/>
                  </a:cubicBezTo>
                  <a:cubicBezTo>
                    <a:pt x="22993" y="52401"/>
                    <a:pt x="23213" y="51563"/>
                    <a:pt x="23272" y="50714"/>
                  </a:cubicBezTo>
                  <a:cubicBezTo>
                    <a:pt x="23251" y="50569"/>
                    <a:pt x="23256" y="50423"/>
                    <a:pt x="23288" y="50262"/>
                  </a:cubicBezTo>
                  <a:cubicBezTo>
                    <a:pt x="23288" y="50069"/>
                    <a:pt x="23278" y="49875"/>
                    <a:pt x="23256" y="49682"/>
                  </a:cubicBezTo>
                  <a:cubicBezTo>
                    <a:pt x="23116" y="48517"/>
                    <a:pt x="23664" y="47259"/>
                    <a:pt x="23127" y="46051"/>
                  </a:cubicBezTo>
                  <a:lnTo>
                    <a:pt x="23127" y="46051"/>
                  </a:lnTo>
                  <a:cubicBezTo>
                    <a:pt x="23159" y="46053"/>
                    <a:pt x="23192" y="46053"/>
                    <a:pt x="23224" y="46053"/>
                  </a:cubicBezTo>
                  <a:cubicBezTo>
                    <a:pt x="23662" y="46053"/>
                    <a:pt x="24123" y="45937"/>
                    <a:pt x="24559" y="45937"/>
                  </a:cubicBezTo>
                  <a:cubicBezTo>
                    <a:pt x="24576" y="45937"/>
                    <a:pt x="24593" y="45938"/>
                    <a:pt x="24610" y="45938"/>
                  </a:cubicBezTo>
                  <a:cubicBezTo>
                    <a:pt x="24787" y="45943"/>
                    <a:pt x="24964" y="45970"/>
                    <a:pt x="25137" y="46029"/>
                  </a:cubicBezTo>
                  <a:cubicBezTo>
                    <a:pt x="25249" y="46072"/>
                    <a:pt x="25362" y="46131"/>
                    <a:pt x="25464" y="46213"/>
                  </a:cubicBezTo>
                  <a:cubicBezTo>
                    <a:pt x="25626" y="46330"/>
                    <a:pt x="25775" y="46503"/>
                    <a:pt x="25910" y="46739"/>
                  </a:cubicBezTo>
                  <a:cubicBezTo>
                    <a:pt x="26004" y="46899"/>
                    <a:pt x="26086" y="46968"/>
                    <a:pt x="26164" y="46968"/>
                  </a:cubicBezTo>
                  <a:cubicBezTo>
                    <a:pt x="26301" y="46968"/>
                    <a:pt x="26425" y="46755"/>
                    <a:pt x="26576" y="46443"/>
                  </a:cubicBezTo>
                  <a:cubicBezTo>
                    <a:pt x="26716" y="46158"/>
                    <a:pt x="26807" y="45863"/>
                    <a:pt x="26883" y="45563"/>
                  </a:cubicBezTo>
                  <a:cubicBezTo>
                    <a:pt x="26947" y="45310"/>
                    <a:pt x="26995" y="45047"/>
                    <a:pt x="27049" y="44789"/>
                  </a:cubicBezTo>
                  <a:cubicBezTo>
                    <a:pt x="27076" y="44665"/>
                    <a:pt x="27097" y="44547"/>
                    <a:pt x="27129" y="44428"/>
                  </a:cubicBezTo>
                  <a:cubicBezTo>
                    <a:pt x="27253" y="43902"/>
                    <a:pt x="27425" y="43397"/>
                    <a:pt x="27785" y="42957"/>
                  </a:cubicBezTo>
                  <a:cubicBezTo>
                    <a:pt x="27817" y="42898"/>
                    <a:pt x="27833" y="42838"/>
                    <a:pt x="27828" y="42791"/>
                  </a:cubicBezTo>
                  <a:cubicBezTo>
                    <a:pt x="27994" y="42189"/>
                    <a:pt x="28113" y="41791"/>
                    <a:pt x="28263" y="41539"/>
                  </a:cubicBezTo>
                  <a:cubicBezTo>
                    <a:pt x="28313" y="41382"/>
                    <a:pt x="28364" y="41224"/>
                    <a:pt x="28410" y="41062"/>
                  </a:cubicBezTo>
                  <a:lnTo>
                    <a:pt x="28410" y="41062"/>
                  </a:lnTo>
                  <a:cubicBezTo>
                    <a:pt x="28415" y="41068"/>
                    <a:pt x="28420" y="41071"/>
                    <a:pt x="28423" y="41071"/>
                  </a:cubicBezTo>
                  <a:cubicBezTo>
                    <a:pt x="28427" y="41071"/>
                    <a:pt x="28428" y="41062"/>
                    <a:pt x="28418" y="41033"/>
                  </a:cubicBezTo>
                  <a:cubicBezTo>
                    <a:pt x="29203" y="38192"/>
                    <a:pt x="29166" y="34683"/>
                    <a:pt x="29751" y="31799"/>
                  </a:cubicBezTo>
                  <a:cubicBezTo>
                    <a:pt x="31373" y="23767"/>
                    <a:pt x="32878" y="15703"/>
                    <a:pt x="34468" y="7667"/>
                  </a:cubicBezTo>
                  <a:cubicBezTo>
                    <a:pt x="34537" y="7323"/>
                    <a:pt x="34543" y="7082"/>
                    <a:pt x="34457" y="6898"/>
                  </a:cubicBezTo>
                  <a:cubicBezTo>
                    <a:pt x="34549" y="6742"/>
                    <a:pt x="34671" y="6598"/>
                    <a:pt x="34844" y="6496"/>
                  </a:cubicBezTo>
                  <a:cubicBezTo>
                    <a:pt x="34817" y="6458"/>
                    <a:pt x="34785" y="6425"/>
                    <a:pt x="34753" y="6393"/>
                  </a:cubicBezTo>
                  <a:cubicBezTo>
                    <a:pt x="30250" y="5512"/>
                    <a:pt x="25743" y="4647"/>
                    <a:pt x="21237" y="3789"/>
                  </a:cubicBezTo>
                  <a:cubicBezTo>
                    <a:pt x="20747" y="3697"/>
                    <a:pt x="20479" y="3536"/>
                    <a:pt x="20350" y="3299"/>
                  </a:cubicBezTo>
                  <a:cubicBezTo>
                    <a:pt x="20151" y="3251"/>
                    <a:pt x="19952" y="3214"/>
                    <a:pt x="19747" y="3165"/>
                  </a:cubicBezTo>
                  <a:cubicBezTo>
                    <a:pt x="19710" y="3159"/>
                    <a:pt x="19673" y="3149"/>
                    <a:pt x="19635" y="3144"/>
                  </a:cubicBezTo>
                  <a:cubicBezTo>
                    <a:pt x="19507" y="3239"/>
                    <a:pt x="19349" y="3280"/>
                    <a:pt x="19154" y="3280"/>
                  </a:cubicBezTo>
                  <a:cubicBezTo>
                    <a:pt x="18998" y="3280"/>
                    <a:pt x="18817" y="3254"/>
                    <a:pt x="18609" y="3208"/>
                  </a:cubicBezTo>
                  <a:cubicBezTo>
                    <a:pt x="14210" y="2209"/>
                    <a:pt x="9826" y="1129"/>
                    <a:pt x="5458"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NV</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66" name="Google Shape;1164;p29">
              <a:extLst>
                <a:ext uri="{FF2B5EF4-FFF2-40B4-BE49-F238E27FC236}">
                  <a16:creationId xmlns:a16="http://schemas.microsoft.com/office/drawing/2014/main" id="{AC80B6CD-47EE-CD56-B796-584AE2EAA8D4}"/>
                </a:ext>
              </a:extLst>
            </p:cNvPr>
            <p:cNvSpPr/>
            <p:nvPr/>
          </p:nvSpPr>
          <p:spPr>
            <a:xfrm>
              <a:off x="4979500" y="3308650"/>
              <a:ext cx="518175" cy="716525"/>
            </a:xfrm>
            <a:custGeom>
              <a:avLst/>
              <a:gdLst/>
              <a:ahLst/>
              <a:cxnLst/>
              <a:rect l="l" t="t" r="r" b="b"/>
              <a:pathLst>
                <a:path w="20727" h="28661" extrusionOk="0">
                  <a:moveTo>
                    <a:pt x="14022" y="0"/>
                  </a:moveTo>
                  <a:cubicBezTo>
                    <a:pt x="9509" y="506"/>
                    <a:pt x="4991" y="903"/>
                    <a:pt x="467" y="1262"/>
                  </a:cubicBezTo>
                  <a:cubicBezTo>
                    <a:pt x="397" y="1300"/>
                    <a:pt x="344" y="1349"/>
                    <a:pt x="290" y="1397"/>
                  </a:cubicBezTo>
                  <a:cubicBezTo>
                    <a:pt x="317" y="1418"/>
                    <a:pt x="349" y="1440"/>
                    <a:pt x="377" y="1467"/>
                  </a:cubicBezTo>
                  <a:cubicBezTo>
                    <a:pt x="484" y="1574"/>
                    <a:pt x="558" y="1698"/>
                    <a:pt x="612" y="1827"/>
                  </a:cubicBezTo>
                  <a:cubicBezTo>
                    <a:pt x="473" y="1999"/>
                    <a:pt x="446" y="2251"/>
                    <a:pt x="451" y="2601"/>
                  </a:cubicBezTo>
                  <a:cubicBezTo>
                    <a:pt x="478" y="5571"/>
                    <a:pt x="456" y="8542"/>
                    <a:pt x="456" y="11513"/>
                  </a:cubicBezTo>
                  <a:cubicBezTo>
                    <a:pt x="489" y="12184"/>
                    <a:pt x="521" y="12856"/>
                    <a:pt x="521" y="13528"/>
                  </a:cubicBezTo>
                  <a:cubicBezTo>
                    <a:pt x="521" y="14199"/>
                    <a:pt x="489" y="14870"/>
                    <a:pt x="402" y="15542"/>
                  </a:cubicBezTo>
                  <a:cubicBezTo>
                    <a:pt x="258" y="18641"/>
                    <a:pt x="0" y="21742"/>
                    <a:pt x="451" y="24842"/>
                  </a:cubicBezTo>
                  <a:cubicBezTo>
                    <a:pt x="640" y="26114"/>
                    <a:pt x="833" y="27388"/>
                    <a:pt x="1010" y="28661"/>
                  </a:cubicBezTo>
                  <a:cubicBezTo>
                    <a:pt x="1015" y="28661"/>
                    <a:pt x="1015" y="28655"/>
                    <a:pt x="1021" y="28655"/>
                  </a:cubicBezTo>
                  <a:cubicBezTo>
                    <a:pt x="1074" y="28650"/>
                    <a:pt x="1128" y="28645"/>
                    <a:pt x="1176" y="28640"/>
                  </a:cubicBezTo>
                  <a:cubicBezTo>
                    <a:pt x="3561" y="28338"/>
                    <a:pt x="5953" y="27899"/>
                    <a:pt x="8354" y="27817"/>
                  </a:cubicBezTo>
                  <a:cubicBezTo>
                    <a:pt x="9202" y="27790"/>
                    <a:pt x="10047" y="27790"/>
                    <a:pt x="10890" y="27748"/>
                  </a:cubicBezTo>
                  <a:cubicBezTo>
                    <a:pt x="11502" y="27673"/>
                    <a:pt x="12109" y="27602"/>
                    <a:pt x="12722" y="27532"/>
                  </a:cubicBezTo>
                  <a:cubicBezTo>
                    <a:pt x="13323" y="27468"/>
                    <a:pt x="13930" y="27403"/>
                    <a:pt x="14537" y="27334"/>
                  </a:cubicBezTo>
                  <a:cubicBezTo>
                    <a:pt x="14892" y="27269"/>
                    <a:pt x="15241" y="27210"/>
                    <a:pt x="15606" y="27210"/>
                  </a:cubicBezTo>
                  <a:cubicBezTo>
                    <a:pt x="15616" y="27210"/>
                    <a:pt x="15628" y="27215"/>
                    <a:pt x="15638" y="27215"/>
                  </a:cubicBezTo>
                  <a:cubicBezTo>
                    <a:pt x="17186" y="27049"/>
                    <a:pt x="18733" y="26883"/>
                    <a:pt x="20280" y="26711"/>
                  </a:cubicBezTo>
                  <a:cubicBezTo>
                    <a:pt x="20344" y="26699"/>
                    <a:pt x="20414" y="26694"/>
                    <a:pt x="20484" y="26684"/>
                  </a:cubicBezTo>
                  <a:cubicBezTo>
                    <a:pt x="20570" y="26674"/>
                    <a:pt x="20645" y="26533"/>
                    <a:pt x="20726" y="26448"/>
                  </a:cubicBezTo>
                  <a:cubicBezTo>
                    <a:pt x="20409" y="26275"/>
                    <a:pt x="20307" y="25958"/>
                    <a:pt x="20205" y="25642"/>
                  </a:cubicBezTo>
                  <a:cubicBezTo>
                    <a:pt x="19539" y="24820"/>
                    <a:pt x="20484" y="23831"/>
                    <a:pt x="19947" y="22993"/>
                  </a:cubicBezTo>
                  <a:cubicBezTo>
                    <a:pt x="19678" y="22896"/>
                    <a:pt x="19684" y="22660"/>
                    <a:pt x="19667" y="22434"/>
                  </a:cubicBezTo>
                  <a:lnTo>
                    <a:pt x="19678" y="22434"/>
                  </a:lnTo>
                  <a:cubicBezTo>
                    <a:pt x="19072" y="21226"/>
                    <a:pt x="19608" y="20103"/>
                    <a:pt x="19952" y="18964"/>
                  </a:cubicBezTo>
                  <a:lnTo>
                    <a:pt x="19952" y="18964"/>
                  </a:lnTo>
                  <a:cubicBezTo>
                    <a:pt x="19947" y="18970"/>
                    <a:pt x="19942" y="18970"/>
                    <a:pt x="19936" y="18975"/>
                  </a:cubicBezTo>
                  <a:cubicBezTo>
                    <a:pt x="19947" y="18884"/>
                    <a:pt x="19958" y="18792"/>
                    <a:pt x="19968" y="18695"/>
                  </a:cubicBezTo>
                  <a:cubicBezTo>
                    <a:pt x="19910" y="18298"/>
                    <a:pt x="19856" y="17900"/>
                    <a:pt x="19802" y="17503"/>
                  </a:cubicBezTo>
                  <a:lnTo>
                    <a:pt x="19802" y="17498"/>
                  </a:lnTo>
                  <a:cubicBezTo>
                    <a:pt x="20054" y="17024"/>
                    <a:pt x="19291" y="16982"/>
                    <a:pt x="19399" y="16573"/>
                  </a:cubicBezTo>
                  <a:cubicBezTo>
                    <a:pt x="18658" y="16149"/>
                    <a:pt x="18711" y="15386"/>
                    <a:pt x="18599" y="14693"/>
                  </a:cubicBezTo>
                  <a:lnTo>
                    <a:pt x="18599" y="14693"/>
                  </a:lnTo>
                  <a:cubicBezTo>
                    <a:pt x="18604" y="14693"/>
                    <a:pt x="18609" y="14698"/>
                    <a:pt x="18609" y="14698"/>
                  </a:cubicBezTo>
                  <a:cubicBezTo>
                    <a:pt x="17481" y="12410"/>
                    <a:pt x="17057" y="9885"/>
                    <a:pt x="16251" y="7489"/>
                  </a:cubicBezTo>
                  <a:cubicBezTo>
                    <a:pt x="15564" y="5448"/>
                    <a:pt x="14956" y="3374"/>
                    <a:pt x="14381" y="1295"/>
                  </a:cubicBezTo>
                  <a:cubicBezTo>
                    <a:pt x="14301" y="999"/>
                    <a:pt x="14205" y="796"/>
                    <a:pt x="14069" y="655"/>
                  </a:cubicBezTo>
                  <a:cubicBezTo>
                    <a:pt x="14086" y="494"/>
                    <a:pt x="14129" y="339"/>
                    <a:pt x="14225" y="194"/>
                  </a:cubicBezTo>
                  <a:cubicBezTo>
                    <a:pt x="14242" y="172"/>
                    <a:pt x="14257" y="151"/>
                    <a:pt x="14274" y="129"/>
                  </a:cubicBezTo>
                  <a:cubicBezTo>
                    <a:pt x="14205" y="75"/>
                    <a:pt x="14113" y="38"/>
                    <a:pt x="14022"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AL</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67" name="Google Shape;1165;p29">
              <a:extLst>
                <a:ext uri="{FF2B5EF4-FFF2-40B4-BE49-F238E27FC236}">
                  <a16:creationId xmlns:a16="http://schemas.microsoft.com/office/drawing/2014/main" id="{284AEDCB-89A3-D88D-B0FA-5E92C903CAFF}"/>
                </a:ext>
              </a:extLst>
            </p:cNvPr>
            <p:cNvSpPr/>
            <p:nvPr/>
          </p:nvSpPr>
          <p:spPr>
            <a:xfrm>
              <a:off x="5005674" y="3951800"/>
              <a:ext cx="1375725" cy="940325"/>
            </a:xfrm>
            <a:custGeom>
              <a:avLst/>
              <a:gdLst/>
              <a:ahLst/>
              <a:cxnLst/>
              <a:rect l="l" t="t" r="r" b="b"/>
              <a:pathLst>
                <a:path w="55029" h="37613" extrusionOk="0">
                  <a:moveTo>
                    <a:pt x="38118" y="1"/>
                  </a:moveTo>
                  <a:cubicBezTo>
                    <a:pt x="37965" y="1"/>
                    <a:pt x="37813" y="53"/>
                    <a:pt x="37660" y="174"/>
                  </a:cubicBezTo>
                  <a:cubicBezTo>
                    <a:pt x="37423" y="968"/>
                    <a:pt x="37977" y="1699"/>
                    <a:pt x="37859" y="2483"/>
                  </a:cubicBezTo>
                  <a:cubicBezTo>
                    <a:pt x="37826" y="2682"/>
                    <a:pt x="37923" y="2951"/>
                    <a:pt x="37864" y="3133"/>
                  </a:cubicBezTo>
                  <a:cubicBezTo>
                    <a:pt x="37789" y="3209"/>
                    <a:pt x="37692" y="3289"/>
                    <a:pt x="37558" y="3348"/>
                  </a:cubicBezTo>
                  <a:cubicBezTo>
                    <a:pt x="37517" y="3356"/>
                    <a:pt x="37477" y="3359"/>
                    <a:pt x="37438" y="3359"/>
                  </a:cubicBezTo>
                  <a:cubicBezTo>
                    <a:pt x="37154" y="3359"/>
                    <a:pt x="36910" y="3175"/>
                    <a:pt x="36773" y="2855"/>
                  </a:cubicBezTo>
                  <a:cubicBezTo>
                    <a:pt x="36346" y="2394"/>
                    <a:pt x="35910" y="2183"/>
                    <a:pt x="35261" y="2183"/>
                  </a:cubicBezTo>
                  <a:cubicBezTo>
                    <a:pt x="35159" y="2183"/>
                    <a:pt x="35053" y="2188"/>
                    <a:pt x="34941" y="2198"/>
                  </a:cubicBezTo>
                  <a:cubicBezTo>
                    <a:pt x="30611" y="2580"/>
                    <a:pt x="26277" y="2833"/>
                    <a:pt x="21935" y="3096"/>
                  </a:cubicBezTo>
                  <a:cubicBezTo>
                    <a:pt x="21724" y="3109"/>
                    <a:pt x="21483" y="3162"/>
                    <a:pt x="21256" y="3162"/>
                  </a:cubicBezTo>
                  <a:cubicBezTo>
                    <a:pt x="20939" y="3162"/>
                    <a:pt x="20648" y="3060"/>
                    <a:pt x="20495" y="2607"/>
                  </a:cubicBezTo>
                  <a:cubicBezTo>
                    <a:pt x="20044" y="2527"/>
                    <a:pt x="20275" y="1979"/>
                    <a:pt x="19974" y="1796"/>
                  </a:cubicBezTo>
                  <a:lnTo>
                    <a:pt x="19974" y="1806"/>
                  </a:lnTo>
                  <a:lnTo>
                    <a:pt x="19952" y="1786"/>
                  </a:lnTo>
                  <a:lnTo>
                    <a:pt x="19964" y="1786"/>
                  </a:lnTo>
                  <a:cubicBezTo>
                    <a:pt x="19830" y="1528"/>
                    <a:pt x="19657" y="1404"/>
                    <a:pt x="19464" y="1355"/>
                  </a:cubicBezTo>
                  <a:cubicBezTo>
                    <a:pt x="19469" y="1307"/>
                    <a:pt x="19475" y="1248"/>
                    <a:pt x="19475" y="1216"/>
                  </a:cubicBezTo>
                  <a:cubicBezTo>
                    <a:pt x="19384" y="1173"/>
                    <a:pt x="19303" y="1102"/>
                    <a:pt x="19250" y="1012"/>
                  </a:cubicBezTo>
                  <a:lnTo>
                    <a:pt x="19233" y="985"/>
                  </a:lnTo>
                  <a:cubicBezTo>
                    <a:pt x="17686" y="1157"/>
                    <a:pt x="16139" y="1323"/>
                    <a:pt x="14591" y="1489"/>
                  </a:cubicBezTo>
                  <a:cubicBezTo>
                    <a:pt x="14581" y="1489"/>
                    <a:pt x="14569" y="1484"/>
                    <a:pt x="14559" y="1484"/>
                  </a:cubicBezTo>
                  <a:cubicBezTo>
                    <a:pt x="14194" y="1484"/>
                    <a:pt x="13845" y="1543"/>
                    <a:pt x="13490" y="1608"/>
                  </a:cubicBezTo>
                  <a:cubicBezTo>
                    <a:pt x="12883" y="1677"/>
                    <a:pt x="12276" y="1742"/>
                    <a:pt x="11675" y="1806"/>
                  </a:cubicBezTo>
                  <a:cubicBezTo>
                    <a:pt x="11062" y="1876"/>
                    <a:pt x="10455" y="1947"/>
                    <a:pt x="9843" y="2022"/>
                  </a:cubicBezTo>
                  <a:cubicBezTo>
                    <a:pt x="9000" y="2064"/>
                    <a:pt x="8155" y="2064"/>
                    <a:pt x="7307" y="2091"/>
                  </a:cubicBezTo>
                  <a:cubicBezTo>
                    <a:pt x="4906" y="2173"/>
                    <a:pt x="2514" y="2612"/>
                    <a:pt x="129" y="2914"/>
                  </a:cubicBezTo>
                  <a:cubicBezTo>
                    <a:pt x="141" y="3011"/>
                    <a:pt x="151" y="3101"/>
                    <a:pt x="168" y="3198"/>
                  </a:cubicBezTo>
                  <a:cubicBezTo>
                    <a:pt x="108" y="3209"/>
                    <a:pt x="54" y="3214"/>
                    <a:pt x="0" y="3219"/>
                  </a:cubicBezTo>
                  <a:cubicBezTo>
                    <a:pt x="146" y="4293"/>
                    <a:pt x="285" y="5364"/>
                    <a:pt x="393" y="6443"/>
                  </a:cubicBezTo>
                  <a:cubicBezTo>
                    <a:pt x="419" y="6701"/>
                    <a:pt x="495" y="6846"/>
                    <a:pt x="597" y="6931"/>
                  </a:cubicBezTo>
                  <a:cubicBezTo>
                    <a:pt x="607" y="7023"/>
                    <a:pt x="612" y="7115"/>
                    <a:pt x="624" y="7201"/>
                  </a:cubicBezTo>
                  <a:cubicBezTo>
                    <a:pt x="629" y="7216"/>
                    <a:pt x="624" y="7233"/>
                    <a:pt x="624" y="7243"/>
                  </a:cubicBezTo>
                  <a:cubicBezTo>
                    <a:pt x="624" y="7254"/>
                    <a:pt x="629" y="7271"/>
                    <a:pt x="629" y="7281"/>
                  </a:cubicBezTo>
                  <a:lnTo>
                    <a:pt x="624" y="7523"/>
                  </a:lnTo>
                  <a:cubicBezTo>
                    <a:pt x="726" y="7549"/>
                    <a:pt x="833" y="7571"/>
                    <a:pt x="962" y="7571"/>
                  </a:cubicBezTo>
                  <a:cubicBezTo>
                    <a:pt x="1016" y="7571"/>
                    <a:pt x="1064" y="7566"/>
                    <a:pt x="1113" y="7566"/>
                  </a:cubicBezTo>
                  <a:cubicBezTo>
                    <a:pt x="1145" y="7566"/>
                    <a:pt x="1182" y="7561"/>
                    <a:pt x="1215" y="7561"/>
                  </a:cubicBezTo>
                  <a:cubicBezTo>
                    <a:pt x="1220" y="7561"/>
                    <a:pt x="1252" y="7561"/>
                    <a:pt x="1264" y="7566"/>
                  </a:cubicBezTo>
                  <a:cubicBezTo>
                    <a:pt x="1408" y="7630"/>
                    <a:pt x="1537" y="7662"/>
                    <a:pt x="1666" y="7662"/>
                  </a:cubicBezTo>
                  <a:cubicBezTo>
                    <a:pt x="1924" y="7662"/>
                    <a:pt x="2359" y="7544"/>
                    <a:pt x="2385" y="6760"/>
                  </a:cubicBezTo>
                  <a:cubicBezTo>
                    <a:pt x="2385" y="6723"/>
                    <a:pt x="2385" y="6685"/>
                    <a:pt x="2392" y="6653"/>
                  </a:cubicBezTo>
                  <a:cubicBezTo>
                    <a:pt x="2466" y="6453"/>
                    <a:pt x="2521" y="6249"/>
                    <a:pt x="2574" y="6056"/>
                  </a:cubicBezTo>
                  <a:cubicBezTo>
                    <a:pt x="2595" y="5976"/>
                    <a:pt x="2617" y="5895"/>
                    <a:pt x="2638" y="5815"/>
                  </a:cubicBezTo>
                  <a:cubicBezTo>
                    <a:pt x="2660" y="5905"/>
                    <a:pt x="2675" y="5992"/>
                    <a:pt x="2692" y="6083"/>
                  </a:cubicBezTo>
                  <a:cubicBezTo>
                    <a:pt x="2826" y="6782"/>
                    <a:pt x="3009" y="7732"/>
                    <a:pt x="3971" y="8114"/>
                  </a:cubicBezTo>
                  <a:cubicBezTo>
                    <a:pt x="4185" y="8194"/>
                    <a:pt x="4395" y="8238"/>
                    <a:pt x="4594" y="8238"/>
                  </a:cubicBezTo>
                  <a:cubicBezTo>
                    <a:pt x="5120" y="8238"/>
                    <a:pt x="5486" y="7968"/>
                    <a:pt x="5770" y="7625"/>
                  </a:cubicBezTo>
                  <a:cubicBezTo>
                    <a:pt x="5749" y="7603"/>
                    <a:pt x="5727" y="7576"/>
                    <a:pt x="5712" y="7549"/>
                  </a:cubicBezTo>
                  <a:cubicBezTo>
                    <a:pt x="5588" y="7367"/>
                    <a:pt x="5529" y="7087"/>
                    <a:pt x="5888" y="6755"/>
                  </a:cubicBezTo>
                  <a:cubicBezTo>
                    <a:pt x="5905" y="6738"/>
                    <a:pt x="5926" y="6723"/>
                    <a:pt x="5937" y="6706"/>
                  </a:cubicBezTo>
                  <a:cubicBezTo>
                    <a:pt x="6039" y="6604"/>
                    <a:pt x="6178" y="6550"/>
                    <a:pt x="6313" y="6550"/>
                  </a:cubicBezTo>
                  <a:cubicBezTo>
                    <a:pt x="6414" y="6550"/>
                    <a:pt x="6518" y="6582"/>
                    <a:pt x="6603" y="6636"/>
                  </a:cubicBezTo>
                  <a:cubicBezTo>
                    <a:pt x="6576" y="6792"/>
                    <a:pt x="6372" y="6931"/>
                    <a:pt x="6313" y="7087"/>
                  </a:cubicBezTo>
                  <a:cubicBezTo>
                    <a:pt x="6367" y="7136"/>
                    <a:pt x="6414" y="7184"/>
                    <a:pt x="6463" y="7233"/>
                  </a:cubicBezTo>
                  <a:cubicBezTo>
                    <a:pt x="6684" y="7233"/>
                    <a:pt x="6845" y="7169"/>
                    <a:pt x="6974" y="7072"/>
                  </a:cubicBezTo>
                  <a:lnTo>
                    <a:pt x="6974" y="7072"/>
                  </a:lnTo>
                  <a:cubicBezTo>
                    <a:pt x="7027" y="7243"/>
                    <a:pt x="6995" y="7437"/>
                    <a:pt x="6872" y="7581"/>
                  </a:cubicBezTo>
                  <a:cubicBezTo>
                    <a:pt x="6808" y="7652"/>
                    <a:pt x="6743" y="7705"/>
                    <a:pt x="6679" y="7754"/>
                  </a:cubicBezTo>
                  <a:cubicBezTo>
                    <a:pt x="7517" y="7641"/>
                    <a:pt x="7768" y="6872"/>
                    <a:pt x="7865" y="6572"/>
                  </a:cubicBezTo>
                  <a:cubicBezTo>
                    <a:pt x="7973" y="6244"/>
                    <a:pt x="8323" y="6239"/>
                    <a:pt x="8338" y="6239"/>
                  </a:cubicBezTo>
                  <a:cubicBezTo>
                    <a:pt x="8618" y="6641"/>
                    <a:pt x="8961" y="6846"/>
                    <a:pt x="9370" y="6846"/>
                  </a:cubicBezTo>
                  <a:cubicBezTo>
                    <a:pt x="9638" y="6846"/>
                    <a:pt x="9875" y="6750"/>
                    <a:pt x="10068" y="6674"/>
                  </a:cubicBezTo>
                  <a:cubicBezTo>
                    <a:pt x="10170" y="6636"/>
                    <a:pt x="10294" y="6588"/>
                    <a:pt x="10347" y="6588"/>
                  </a:cubicBezTo>
                  <a:cubicBezTo>
                    <a:pt x="10418" y="6604"/>
                    <a:pt x="10493" y="6609"/>
                    <a:pt x="10562" y="6609"/>
                  </a:cubicBezTo>
                  <a:cubicBezTo>
                    <a:pt x="10944" y="6609"/>
                    <a:pt x="11276" y="6427"/>
                    <a:pt x="11578" y="6266"/>
                  </a:cubicBezTo>
                  <a:cubicBezTo>
                    <a:pt x="11750" y="6169"/>
                    <a:pt x="11970" y="6051"/>
                    <a:pt x="12082" y="6051"/>
                  </a:cubicBezTo>
                  <a:cubicBezTo>
                    <a:pt x="12082" y="6051"/>
                    <a:pt x="12196" y="6110"/>
                    <a:pt x="12330" y="6485"/>
                  </a:cubicBezTo>
                  <a:cubicBezTo>
                    <a:pt x="12410" y="6701"/>
                    <a:pt x="12610" y="6835"/>
                    <a:pt x="12829" y="6835"/>
                  </a:cubicBezTo>
                  <a:cubicBezTo>
                    <a:pt x="12868" y="6835"/>
                    <a:pt x="12905" y="6835"/>
                    <a:pt x="12937" y="6824"/>
                  </a:cubicBezTo>
                  <a:cubicBezTo>
                    <a:pt x="12990" y="6814"/>
                    <a:pt x="13049" y="6808"/>
                    <a:pt x="13103" y="6808"/>
                  </a:cubicBezTo>
                  <a:cubicBezTo>
                    <a:pt x="13421" y="6808"/>
                    <a:pt x="13764" y="6996"/>
                    <a:pt x="14130" y="7189"/>
                  </a:cubicBezTo>
                  <a:cubicBezTo>
                    <a:pt x="14581" y="7437"/>
                    <a:pt x="15092" y="7710"/>
                    <a:pt x="15698" y="7710"/>
                  </a:cubicBezTo>
                  <a:cubicBezTo>
                    <a:pt x="16026" y="7710"/>
                    <a:pt x="16354" y="7630"/>
                    <a:pt x="16665" y="7469"/>
                  </a:cubicBezTo>
                  <a:cubicBezTo>
                    <a:pt x="16800" y="7506"/>
                    <a:pt x="17019" y="7635"/>
                    <a:pt x="17111" y="7727"/>
                  </a:cubicBezTo>
                  <a:cubicBezTo>
                    <a:pt x="17106" y="8640"/>
                    <a:pt x="17691" y="9000"/>
                    <a:pt x="18089" y="9237"/>
                  </a:cubicBezTo>
                  <a:cubicBezTo>
                    <a:pt x="18196" y="9301"/>
                    <a:pt x="18298" y="9361"/>
                    <a:pt x="18379" y="9425"/>
                  </a:cubicBezTo>
                  <a:cubicBezTo>
                    <a:pt x="18422" y="9462"/>
                    <a:pt x="18470" y="9495"/>
                    <a:pt x="18513" y="9532"/>
                  </a:cubicBezTo>
                  <a:cubicBezTo>
                    <a:pt x="18551" y="9554"/>
                    <a:pt x="18599" y="9591"/>
                    <a:pt x="18626" y="9612"/>
                  </a:cubicBezTo>
                  <a:cubicBezTo>
                    <a:pt x="18605" y="9914"/>
                    <a:pt x="18615" y="10321"/>
                    <a:pt x="18863" y="10628"/>
                  </a:cubicBezTo>
                  <a:cubicBezTo>
                    <a:pt x="21607" y="10764"/>
                    <a:pt x="24143" y="13721"/>
                    <a:pt x="27016" y="13721"/>
                  </a:cubicBezTo>
                  <a:cubicBezTo>
                    <a:pt x="28017" y="13721"/>
                    <a:pt x="29059" y="13362"/>
                    <a:pt x="30165" y="12401"/>
                  </a:cubicBezTo>
                  <a:cubicBezTo>
                    <a:pt x="30569" y="12384"/>
                    <a:pt x="30988" y="12358"/>
                    <a:pt x="31427" y="12320"/>
                  </a:cubicBezTo>
                  <a:cubicBezTo>
                    <a:pt x="31868" y="12282"/>
                    <a:pt x="32336" y="12229"/>
                    <a:pt x="32830" y="12170"/>
                  </a:cubicBezTo>
                  <a:cubicBezTo>
                    <a:pt x="33239" y="12287"/>
                    <a:pt x="33646" y="12406"/>
                    <a:pt x="34071" y="12513"/>
                  </a:cubicBezTo>
                  <a:cubicBezTo>
                    <a:pt x="34082" y="12530"/>
                    <a:pt x="34098" y="12552"/>
                    <a:pt x="34109" y="12567"/>
                  </a:cubicBezTo>
                  <a:cubicBezTo>
                    <a:pt x="34147" y="12621"/>
                    <a:pt x="34189" y="12681"/>
                    <a:pt x="34227" y="12723"/>
                  </a:cubicBezTo>
                  <a:cubicBezTo>
                    <a:pt x="35699" y="14479"/>
                    <a:pt x="36021" y="16199"/>
                    <a:pt x="35221" y="17987"/>
                  </a:cubicBezTo>
                  <a:cubicBezTo>
                    <a:pt x="34856" y="18805"/>
                    <a:pt x="35000" y="19546"/>
                    <a:pt x="35129" y="20201"/>
                  </a:cubicBezTo>
                  <a:cubicBezTo>
                    <a:pt x="35183" y="20469"/>
                    <a:pt x="35231" y="20722"/>
                    <a:pt x="35243" y="20970"/>
                  </a:cubicBezTo>
                  <a:cubicBezTo>
                    <a:pt x="35275" y="21550"/>
                    <a:pt x="35790" y="22038"/>
                    <a:pt x="36371" y="22038"/>
                  </a:cubicBezTo>
                  <a:cubicBezTo>
                    <a:pt x="36505" y="22038"/>
                    <a:pt x="36634" y="22017"/>
                    <a:pt x="36752" y="21964"/>
                  </a:cubicBezTo>
                  <a:cubicBezTo>
                    <a:pt x="37090" y="21823"/>
                    <a:pt x="37214" y="21603"/>
                    <a:pt x="37256" y="21441"/>
                  </a:cubicBezTo>
                  <a:cubicBezTo>
                    <a:pt x="37358" y="21093"/>
                    <a:pt x="37160" y="20819"/>
                    <a:pt x="37042" y="20658"/>
                  </a:cubicBezTo>
                  <a:cubicBezTo>
                    <a:pt x="37026" y="20625"/>
                    <a:pt x="37004" y="20603"/>
                    <a:pt x="36988" y="20578"/>
                  </a:cubicBezTo>
                  <a:cubicBezTo>
                    <a:pt x="36988" y="20571"/>
                    <a:pt x="36983" y="20566"/>
                    <a:pt x="36983" y="20561"/>
                  </a:cubicBezTo>
                  <a:lnTo>
                    <a:pt x="36983" y="20561"/>
                  </a:lnTo>
                  <a:cubicBezTo>
                    <a:pt x="37160" y="20727"/>
                    <a:pt x="37348" y="20765"/>
                    <a:pt x="37487" y="20765"/>
                  </a:cubicBezTo>
                  <a:cubicBezTo>
                    <a:pt x="37574" y="20765"/>
                    <a:pt x="37648" y="20754"/>
                    <a:pt x="37713" y="20732"/>
                  </a:cubicBezTo>
                  <a:lnTo>
                    <a:pt x="37713" y="20732"/>
                  </a:lnTo>
                  <a:cubicBezTo>
                    <a:pt x="37623" y="20953"/>
                    <a:pt x="37552" y="21178"/>
                    <a:pt x="37487" y="21404"/>
                  </a:cubicBezTo>
                  <a:cubicBezTo>
                    <a:pt x="37353" y="21840"/>
                    <a:pt x="37241" y="22222"/>
                    <a:pt x="36951" y="22463"/>
                  </a:cubicBezTo>
                  <a:cubicBezTo>
                    <a:pt x="36585" y="22763"/>
                    <a:pt x="36527" y="23075"/>
                    <a:pt x="36537" y="23285"/>
                  </a:cubicBezTo>
                  <a:cubicBezTo>
                    <a:pt x="36552" y="23553"/>
                    <a:pt x="36703" y="23789"/>
                    <a:pt x="36956" y="23956"/>
                  </a:cubicBezTo>
                  <a:cubicBezTo>
                    <a:pt x="37519" y="24317"/>
                    <a:pt x="37816" y="24902"/>
                    <a:pt x="38127" y="25520"/>
                  </a:cubicBezTo>
                  <a:cubicBezTo>
                    <a:pt x="38267" y="25799"/>
                    <a:pt x="38407" y="26090"/>
                    <a:pt x="38583" y="26368"/>
                  </a:cubicBezTo>
                  <a:cubicBezTo>
                    <a:pt x="38707" y="26561"/>
                    <a:pt x="39352" y="27540"/>
                    <a:pt x="40179" y="27540"/>
                  </a:cubicBezTo>
                  <a:cubicBezTo>
                    <a:pt x="40388" y="27540"/>
                    <a:pt x="40588" y="27476"/>
                    <a:pt x="40760" y="27352"/>
                  </a:cubicBezTo>
                  <a:cubicBezTo>
                    <a:pt x="40839" y="27298"/>
                    <a:pt x="40904" y="27255"/>
                    <a:pt x="40953" y="27233"/>
                  </a:cubicBezTo>
                  <a:cubicBezTo>
                    <a:pt x="40968" y="27292"/>
                    <a:pt x="40980" y="27362"/>
                    <a:pt x="40990" y="27416"/>
                  </a:cubicBezTo>
                  <a:cubicBezTo>
                    <a:pt x="41007" y="27496"/>
                    <a:pt x="41023" y="27572"/>
                    <a:pt x="41039" y="27642"/>
                  </a:cubicBezTo>
                  <a:cubicBezTo>
                    <a:pt x="41060" y="27739"/>
                    <a:pt x="41072" y="27862"/>
                    <a:pt x="41082" y="27991"/>
                  </a:cubicBezTo>
                  <a:cubicBezTo>
                    <a:pt x="41114" y="28383"/>
                    <a:pt x="41168" y="28979"/>
                    <a:pt x="41721" y="29306"/>
                  </a:cubicBezTo>
                  <a:cubicBezTo>
                    <a:pt x="42677" y="29876"/>
                    <a:pt x="43016" y="30806"/>
                    <a:pt x="43408" y="31885"/>
                  </a:cubicBezTo>
                  <a:lnTo>
                    <a:pt x="43521" y="32197"/>
                  </a:lnTo>
                  <a:cubicBezTo>
                    <a:pt x="43639" y="32509"/>
                    <a:pt x="43940" y="33330"/>
                    <a:pt x="44928" y="33347"/>
                  </a:cubicBezTo>
                  <a:cubicBezTo>
                    <a:pt x="45965" y="33368"/>
                    <a:pt x="46594" y="34002"/>
                    <a:pt x="47206" y="34959"/>
                  </a:cubicBezTo>
                  <a:cubicBezTo>
                    <a:pt x="47630" y="35614"/>
                    <a:pt x="48151" y="36248"/>
                    <a:pt x="49049" y="36474"/>
                  </a:cubicBezTo>
                  <a:cubicBezTo>
                    <a:pt x="49043" y="36484"/>
                    <a:pt x="49043" y="36489"/>
                    <a:pt x="49038" y="36501"/>
                  </a:cubicBezTo>
                  <a:cubicBezTo>
                    <a:pt x="49011" y="36559"/>
                    <a:pt x="48979" y="36623"/>
                    <a:pt x="48957" y="36688"/>
                  </a:cubicBezTo>
                  <a:cubicBezTo>
                    <a:pt x="49011" y="36554"/>
                    <a:pt x="49118" y="36447"/>
                    <a:pt x="49259" y="36392"/>
                  </a:cubicBezTo>
                  <a:cubicBezTo>
                    <a:pt x="49323" y="36372"/>
                    <a:pt x="49388" y="36360"/>
                    <a:pt x="49446" y="36360"/>
                  </a:cubicBezTo>
                  <a:cubicBezTo>
                    <a:pt x="49517" y="36360"/>
                    <a:pt x="49581" y="36372"/>
                    <a:pt x="49646" y="36398"/>
                  </a:cubicBezTo>
                  <a:cubicBezTo>
                    <a:pt x="49613" y="36554"/>
                    <a:pt x="49510" y="36732"/>
                    <a:pt x="49446" y="36893"/>
                  </a:cubicBezTo>
                  <a:cubicBezTo>
                    <a:pt x="49522" y="36957"/>
                    <a:pt x="49591" y="37022"/>
                    <a:pt x="49666" y="37086"/>
                  </a:cubicBezTo>
                  <a:cubicBezTo>
                    <a:pt x="49849" y="37086"/>
                    <a:pt x="50021" y="37064"/>
                    <a:pt x="50199" y="37037"/>
                  </a:cubicBezTo>
                  <a:lnTo>
                    <a:pt x="50199" y="37037"/>
                  </a:lnTo>
                  <a:cubicBezTo>
                    <a:pt x="50199" y="37081"/>
                    <a:pt x="50199" y="37124"/>
                    <a:pt x="50194" y="37166"/>
                  </a:cubicBezTo>
                  <a:cubicBezTo>
                    <a:pt x="50166" y="37344"/>
                    <a:pt x="50048" y="37500"/>
                    <a:pt x="49887" y="37575"/>
                  </a:cubicBezTo>
                  <a:lnTo>
                    <a:pt x="49795" y="37612"/>
                  </a:lnTo>
                  <a:cubicBezTo>
                    <a:pt x="50816" y="37575"/>
                    <a:pt x="51660" y="37145"/>
                    <a:pt x="52471" y="36726"/>
                  </a:cubicBezTo>
                  <a:cubicBezTo>
                    <a:pt x="52643" y="36640"/>
                    <a:pt x="52815" y="36548"/>
                    <a:pt x="52986" y="36469"/>
                  </a:cubicBezTo>
                  <a:cubicBezTo>
                    <a:pt x="53539" y="36199"/>
                    <a:pt x="53889" y="35839"/>
                    <a:pt x="54023" y="35405"/>
                  </a:cubicBezTo>
                  <a:cubicBezTo>
                    <a:pt x="54152" y="34986"/>
                    <a:pt x="54072" y="34518"/>
                    <a:pt x="53787" y="34019"/>
                  </a:cubicBezTo>
                  <a:cubicBezTo>
                    <a:pt x="53572" y="33637"/>
                    <a:pt x="53400" y="33105"/>
                    <a:pt x="53829" y="32745"/>
                  </a:cubicBezTo>
                  <a:cubicBezTo>
                    <a:pt x="55029" y="31735"/>
                    <a:pt x="54523" y="30575"/>
                    <a:pt x="54281" y="30010"/>
                  </a:cubicBezTo>
                  <a:cubicBezTo>
                    <a:pt x="54196" y="29807"/>
                    <a:pt x="54169" y="29629"/>
                    <a:pt x="54201" y="29398"/>
                  </a:cubicBezTo>
                  <a:cubicBezTo>
                    <a:pt x="54571" y="26637"/>
                    <a:pt x="53926" y="24295"/>
                    <a:pt x="52282" y="22447"/>
                  </a:cubicBezTo>
                  <a:cubicBezTo>
                    <a:pt x="51848" y="21952"/>
                    <a:pt x="51504" y="21356"/>
                    <a:pt x="51208" y="20556"/>
                  </a:cubicBezTo>
                  <a:cubicBezTo>
                    <a:pt x="51171" y="20459"/>
                    <a:pt x="51139" y="20367"/>
                    <a:pt x="51106" y="20276"/>
                  </a:cubicBezTo>
                  <a:cubicBezTo>
                    <a:pt x="50859" y="19594"/>
                    <a:pt x="50586" y="18820"/>
                    <a:pt x="49919" y="18262"/>
                  </a:cubicBezTo>
                  <a:cubicBezTo>
                    <a:pt x="49162" y="17623"/>
                    <a:pt x="49027" y="16645"/>
                    <a:pt x="49145" y="16006"/>
                  </a:cubicBezTo>
                  <a:cubicBezTo>
                    <a:pt x="49510" y="13963"/>
                    <a:pt x="48265" y="12809"/>
                    <a:pt x="47265" y="11875"/>
                  </a:cubicBezTo>
                  <a:lnTo>
                    <a:pt x="47222" y="11836"/>
                  </a:lnTo>
                  <a:cubicBezTo>
                    <a:pt x="46551" y="11203"/>
                    <a:pt x="45954" y="10477"/>
                    <a:pt x="45384" y="9768"/>
                  </a:cubicBezTo>
                  <a:cubicBezTo>
                    <a:pt x="44977" y="9264"/>
                    <a:pt x="44553" y="8742"/>
                    <a:pt x="44095" y="8253"/>
                  </a:cubicBezTo>
                  <a:cubicBezTo>
                    <a:pt x="43440" y="7549"/>
                    <a:pt x="43269" y="6636"/>
                    <a:pt x="43080" y="5669"/>
                  </a:cubicBezTo>
                  <a:cubicBezTo>
                    <a:pt x="42902" y="4745"/>
                    <a:pt x="42715" y="3795"/>
                    <a:pt x="42118" y="2946"/>
                  </a:cubicBezTo>
                  <a:cubicBezTo>
                    <a:pt x="42049" y="2849"/>
                    <a:pt x="41968" y="2758"/>
                    <a:pt x="41888" y="2672"/>
                  </a:cubicBezTo>
                  <a:cubicBezTo>
                    <a:pt x="41694" y="2456"/>
                    <a:pt x="41571" y="2307"/>
                    <a:pt x="41598" y="2178"/>
                  </a:cubicBezTo>
                  <a:cubicBezTo>
                    <a:pt x="41727" y="1409"/>
                    <a:pt x="41630" y="845"/>
                    <a:pt x="41291" y="447"/>
                  </a:cubicBezTo>
                  <a:cubicBezTo>
                    <a:pt x="41194" y="329"/>
                    <a:pt x="41077" y="232"/>
                    <a:pt x="40943" y="152"/>
                  </a:cubicBezTo>
                  <a:cubicBezTo>
                    <a:pt x="40910" y="222"/>
                    <a:pt x="40867" y="291"/>
                    <a:pt x="40819" y="356"/>
                  </a:cubicBezTo>
                  <a:cubicBezTo>
                    <a:pt x="40743" y="442"/>
                    <a:pt x="40663" y="512"/>
                    <a:pt x="40582" y="561"/>
                  </a:cubicBezTo>
                  <a:cubicBezTo>
                    <a:pt x="40359" y="456"/>
                    <a:pt x="40082" y="417"/>
                    <a:pt x="39770" y="417"/>
                  </a:cubicBezTo>
                  <a:cubicBezTo>
                    <a:pt x="39584" y="417"/>
                    <a:pt x="39386" y="430"/>
                    <a:pt x="39180" y="453"/>
                  </a:cubicBezTo>
                  <a:cubicBezTo>
                    <a:pt x="39135" y="457"/>
                    <a:pt x="39090" y="461"/>
                    <a:pt x="39045" y="461"/>
                  </a:cubicBezTo>
                  <a:cubicBezTo>
                    <a:pt x="38874" y="461"/>
                    <a:pt x="38713" y="411"/>
                    <a:pt x="38654" y="190"/>
                  </a:cubicBezTo>
                  <a:cubicBezTo>
                    <a:pt x="38476" y="73"/>
                    <a:pt x="38297" y="1"/>
                    <a:pt x="38118" y="1"/>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FL</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68" name="Google Shape;1166;p29">
              <a:extLst>
                <a:ext uri="{FF2B5EF4-FFF2-40B4-BE49-F238E27FC236}">
                  <a16:creationId xmlns:a16="http://schemas.microsoft.com/office/drawing/2014/main" id="{97E1EE4C-21E1-5B7B-BC11-B2228EDFA6F8}"/>
                </a:ext>
              </a:extLst>
            </p:cNvPr>
            <p:cNvSpPr/>
            <p:nvPr/>
          </p:nvSpPr>
          <p:spPr>
            <a:xfrm>
              <a:off x="1443900" y="1960100"/>
              <a:ext cx="764900" cy="972325"/>
            </a:xfrm>
            <a:custGeom>
              <a:avLst/>
              <a:gdLst/>
              <a:ahLst/>
              <a:cxnLst/>
              <a:rect l="l" t="t" r="r" b="b"/>
              <a:pathLst>
                <a:path w="30596" h="38893" extrusionOk="0">
                  <a:moveTo>
                    <a:pt x="20286" y="9036"/>
                  </a:moveTo>
                  <a:cubicBezTo>
                    <a:pt x="20314" y="9155"/>
                    <a:pt x="20366" y="9277"/>
                    <a:pt x="20463" y="9401"/>
                  </a:cubicBezTo>
                  <a:cubicBezTo>
                    <a:pt x="20684" y="9686"/>
                    <a:pt x="21103" y="9793"/>
                    <a:pt x="21430" y="9869"/>
                  </a:cubicBezTo>
                  <a:cubicBezTo>
                    <a:pt x="21371" y="9864"/>
                    <a:pt x="21318" y="9852"/>
                    <a:pt x="21259" y="9842"/>
                  </a:cubicBezTo>
                  <a:cubicBezTo>
                    <a:pt x="21253" y="9842"/>
                    <a:pt x="21248" y="9837"/>
                    <a:pt x="21242" y="9837"/>
                  </a:cubicBezTo>
                  <a:cubicBezTo>
                    <a:pt x="21194" y="9825"/>
                    <a:pt x="21145" y="9815"/>
                    <a:pt x="21097" y="9805"/>
                  </a:cubicBezTo>
                  <a:cubicBezTo>
                    <a:pt x="21087" y="9800"/>
                    <a:pt x="21070" y="9793"/>
                    <a:pt x="21060" y="9788"/>
                  </a:cubicBezTo>
                  <a:cubicBezTo>
                    <a:pt x="21023" y="9778"/>
                    <a:pt x="20979" y="9767"/>
                    <a:pt x="20941" y="9751"/>
                  </a:cubicBezTo>
                  <a:cubicBezTo>
                    <a:pt x="20931" y="9745"/>
                    <a:pt x="20914" y="9740"/>
                    <a:pt x="20899" y="9735"/>
                  </a:cubicBezTo>
                  <a:cubicBezTo>
                    <a:pt x="20855" y="9713"/>
                    <a:pt x="20807" y="9691"/>
                    <a:pt x="20765" y="9671"/>
                  </a:cubicBezTo>
                  <a:cubicBezTo>
                    <a:pt x="20765" y="9664"/>
                    <a:pt x="20758" y="9664"/>
                    <a:pt x="20753" y="9659"/>
                  </a:cubicBezTo>
                  <a:cubicBezTo>
                    <a:pt x="20706" y="9632"/>
                    <a:pt x="20662" y="9606"/>
                    <a:pt x="20614" y="9568"/>
                  </a:cubicBezTo>
                  <a:cubicBezTo>
                    <a:pt x="20604" y="9562"/>
                    <a:pt x="20592" y="9552"/>
                    <a:pt x="20582" y="9542"/>
                  </a:cubicBezTo>
                  <a:cubicBezTo>
                    <a:pt x="20550" y="9515"/>
                    <a:pt x="20517" y="9488"/>
                    <a:pt x="20485" y="9461"/>
                  </a:cubicBezTo>
                  <a:cubicBezTo>
                    <a:pt x="20468" y="9445"/>
                    <a:pt x="20458" y="9428"/>
                    <a:pt x="20443" y="9418"/>
                  </a:cubicBezTo>
                  <a:cubicBezTo>
                    <a:pt x="20415" y="9386"/>
                    <a:pt x="20388" y="9353"/>
                    <a:pt x="20361" y="9316"/>
                  </a:cubicBezTo>
                  <a:cubicBezTo>
                    <a:pt x="20346" y="9304"/>
                    <a:pt x="20334" y="9289"/>
                    <a:pt x="20324" y="9272"/>
                  </a:cubicBezTo>
                  <a:cubicBezTo>
                    <a:pt x="20286" y="9219"/>
                    <a:pt x="20249" y="9165"/>
                    <a:pt x="20217" y="9106"/>
                  </a:cubicBezTo>
                  <a:cubicBezTo>
                    <a:pt x="20238" y="9079"/>
                    <a:pt x="20259" y="9058"/>
                    <a:pt x="20286" y="9036"/>
                  </a:cubicBezTo>
                  <a:close/>
                  <a:moveTo>
                    <a:pt x="6544" y="1"/>
                  </a:moveTo>
                  <a:cubicBezTo>
                    <a:pt x="6501" y="21"/>
                    <a:pt x="6464" y="38"/>
                    <a:pt x="6426" y="65"/>
                  </a:cubicBezTo>
                  <a:cubicBezTo>
                    <a:pt x="6253" y="167"/>
                    <a:pt x="6131" y="311"/>
                    <a:pt x="6039" y="467"/>
                  </a:cubicBezTo>
                  <a:cubicBezTo>
                    <a:pt x="6125" y="651"/>
                    <a:pt x="6119" y="892"/>
                    <a:pt x="6050" y="1236"/>
                  </a:cubicBezTo>
                  <a:cubicBezTo>
                    <a:pt x="4460" y="9272"/>
                    <a:pt x="2955" y="17336"/>
                    <a:pt x="1333" y="25368"/>
                  </a:cubicBezTo>
                  <a:cubicBezTo>
                    <a:pt x="748" y="28252"/>
                    <a:pt x="0" y="34602"/>
                    <a:pt x="0" y="34602"/>
                  </a:cubicBezTo>
                  <a:cubicBezTo>
                    <a:pt x="81" y="34667"/>
                    <a:pt x="168" y="34721"/>
                    <a:pt x="258" y="34769"/>
                  </a:cubicBezTo>
                  <a:cubicBezTo>
                    <a:pt x="357" y="34738"/>
                    <a:pt x="471" y="34725"/>
                    <a:pt x="606" y="34725"/>
                  </a:cubicBezTo>
                  <a:cubicBezTo>
                    <a:pt x="925" y="34725"/>
                    <a:pt x="1361" y="34800"/>
                    <a:pt x="1988" y="34898"/>
                  </a:cubicBezTo>
                  <a:cubicBezTo>
                    <a:pt x="9585" y="36107"/>
                    <a:pt x="17181" y="37288"/>
                    <a:pt x="24782" y="38465"/>
                  </a:cubicBezTo>
                  <a:cubicBezTo>
                    <a:pt x="25537" y="38582"/>
                    <a:pt x="26586" y="38893"/>
                    <a:pt x="26773" y="38893"/>
                  </a:cubicBezTo>
                  <a:cubicBezTo>
                    <a:pt x="26785" y="38893"/>
                    <a:pt x="26793" y="38892"/>
                    <a:pt x="26798" y="38889"/>
                  </a:cubicBezTo>
                  <a:cubicBezTo>
                    <a:pt x="26808" y="38884"/>
                    <a:pt x="26818" y="38879"/>
                    <a:pt x="26835" y="38867"/>
                  </a:cubicBezTo>
                  <a:cubicBezTo>
                    <a:pt x="26840" y="38867"/>
                    <a:pt x="26850" y="38862"/>
                    <a:pt x="26857" y="38857"/>
                  </a:cubicBezTo>
                  <a:cubicBezTo>
                    <a:pt x="26969" y="38771"/>
                    <a:pt x="26899" y="38041"/>
                    <a:pt x="26954" y="37654"/>
                  </a:cubicBezTo>
                  <a:cubicBezTo>
                    <a:pt x="28108" y="29306"/>
                    <a:pt x="29236" y="20946"/>
                    <a:pt x="30316" y="12587"/>
                  </a:cubicBezTo>
                  <a:cubicBezTo>
                    <a:pt x="30364" y="12185"/>
                    <a:pt x="30455" y="11878"/>
                    <a:pt x="30596" y="11663"/>
                  </a:cubicBezTo>
                  <a:cubicBezTo>
                    <a:pt x="30547" y="11469"/>
                    <a:pt x="30467" y="11303"/>
                    <a:pt x="30359" y="11159"/>
                  </a:cubicBezTo>
                  <a:cubicBezTo>
                    <a:pt x="30354" y="11147"/>
                    <a:pt x="30343" y="11142"/>
                    <a:pt x="30338" y="11131"/>
                  </a:cubicBezTo>
                  <a:cubicBezTo>
                    <a:pt x="30274" y="11045"/>
                    <a:pt x="30192" y="10975"/>
                    <a:pt x="30112" y="10911"/>
                  </a:cubicBezTo>
                  <a:cubicBezTo>
                    <a:pt x="29984" y="10896"/>
                    <a:pt x="29855" y="10879"/>
                    <a:pt x="29731" y="10857"/>
                  </a:cubicBezTo>
                  <a:cubicBezTo>
                    <a:pt x="27759" y="10556"/>
                    <a:pt x="25793" y="10239"/>
                    <a:pt x="23827" y="9929"/>
                  </a:cubicBezTo>
                  <a:cubicBezTo>
                    <a:pt x="23601" y="9880"/>
                    <a:pt x="23376" y="9832"/>
                    <a:pt x="23150" y="9788"/>
                  </a:cubicBezTo>
                  <a:cubicBezTo>
                    <a:pt x="22677" y="9703"/>
                    <a:pt x="22188" y="9696"/>
                    <a:pt x="21715" y="9627"/>
                  </a:cubicBezTo>
                  <a:cubicBezTo>
                    <a:pt x="21435" y="9584"/>
                    <a:pt x="21167" y="9503"/>
                    <a:pt x="20909" y="9381"/>
                  </a:cubicBezTo>
                  <a:cubicBezTo>
                    <a:pt x="20604" y="9235"/>
                    <a:pt x="20528" y="9004"/>
                    <a:pt x="20533" y="8757"/>
                  </a:cubicBezTo>
                  <a:cubicBezTo>
                    <a:pt x="20539" y="8746"/>
                    <a:pt x="20539" y="8729"/>
                    <a:pt x="20544" y="8719"/>
                  </a:cubicBezTo>
                  <a:cubicBezTo>
                    <a:pt x="20765" y="7053"/>
                    <a:pt x="21157" y="5416"/>
                    <a:pt x="21511" y="3777"/>
                  </a:cubicBezTo>
                  <a:cubicBezTo>
                    <a:pt x="21474" y="3465"/>
                    <a:pt x="21366" y="3160"/>
                    <a:pt x="21157" y="2869"/>
                  </a:cubicBezTo>
                  <a:cubicBezTo>
                    <a:pt x="21135" y="2842"/>
                    <a:pt x="21113" y="2815"/>
                    <a:pt x="21092" y="2788"/>
                  </a:cubicBezTo>
                  <a:cubicBezTo>
                    <a:pt x="21003" y="2823"/>
                    <a:pt x="20903" y="2841"/>
                    <a:pt x="20789" y="2841"/>
                  </a:cubicBezTo>
                  <a:cubicBezTo>
                    <a:pt x="20620" y="2841"/>
                    <a:pt x="20422" y="2802"/>
                    <a:pt x="20185" y="2719"/>
                  </a:cubicBezTo>
                  <a:cubicBezTo>
                    <a:pt x="20019" y="2794"/>
                    <a:pt x="19856" y="2822"/>
                    <a:pt x="19696" y="2822"/>
                  </a:cubicBezTo>
                  <a:cubicBezTo>
                    <a:pt x="19299" y="2822"/>
                    <a:pt x="18913" y="2651"/>
                    <a:pt x="18519" y="2605"/>
                  </a:cubicBezTo>
                  <a:cubicBezTo>
                    <a:pt x="18492" y="2605"/>
                    <a:pt x="18465" y="2600"/>
                    <a:pt x="18438" y="2600"/>
                  </a:cubicBezTo>
                  <a:lnTo>
                    <a:pt x="18405" y="2600"/>
                  </a:lnTo>
                  <a:cubicBezTo>
                    <a:pt x="17428" y="1794"/>
                    <a:pt x="16181" y="1913"/>
                    <a:pt x="15053" y="1687"/>
                  </a:cubicBezTo>
                  <a:cubicBezTo>
                    <a:pt x="12223" y="1117"/>
                    <a:pt x="9380" y="559"/>
                    <a:pt x="6544"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UT</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69" name="Google Shape;1167;p29">
              <a:extLst>
                <a:ext uri="{FF2B5EF4-FFF2-40B4-BE49-F238E27FC236}">
                  <a16:creationId xmlns:a16="http://schemas.microsoft.com/office/drawing/2014/main" id="{CF3B31AB-9E0B-487C-7E6C-6197BF99D55C}"/>
                </a:ext>
              </a:extLst>
            </p:cNvPr>
            <p:cNvSpPr/>
            <p:nvPr/>
          </p:nvSpPr>
          <p:spPr>
            <a:xfrm>
              <a:off x="568925" y="552725"/>
              <a:ext cx="921350" cy="673125"/>
            </a:xfrm>
            <a:custGeom>
              <a:avLst/>
              <a:gdLst/>
              <a:ahLst/>
              <a:cxnLst/>
              <a:rect l="l" t="t" r="r" b="b"/>
              <a:pathLst>
                <a:path w="36854" h="26925" extrusionOk="0">
                  <a:moveTo>
                    <a:pt x="11647" y="0"/>
                  </a:moveTo>
                  <a:cubicBezTo>
                    <a:pt x="11518" y="0"/>
                    <a:pt x="11394" y="43"/>
                    <a:pt x="11297" y="129"/>
                  </a:cubicBezTo>
                  <a:cubicBezTo>
                    <a:pt x="11163" y="248"/>
                    <a:pt x="11094" y="419"/>
                    <a:pt x="11114" y="597"/>
                  </a:cubicBezTo>
                  <a:cubicBezTo>
                    <a:pt x="11131" y="741"/>
                    <a:pt x="11109" y="908"/>
                    <a:pt x="11089" y="1091"/>
                  </a:cubicBezTo>
                  <a:cubicBezTo>
                    <a:pt x="11034" y="1493"/>
                    <a:pt x="10938" y="2246"/>
                    <a:pt x="11706" y="2573"/>
                  </a:cubicBezTo>
                  <a:cubicBezTo>
                    <a:pt x="11937" y="2675"/>
                    <a:pt x="11996" y="2762"/>
                    <a:pt x="11996" y="2777"/>
                  </a:cubicBezTo>
                  <a:cubicBezTo>
                    <a:pt x="12001" y="2831"/>
                    <a:pt x="11920" y="2971"/>
                    <a:pt x="11803" y="3057"/>
                  </a:cubicBezTo>
                  <a:cubicBezTo>
                    <a:pt x="10712" y="3846"/>
                    <a:pt x="11040" y="4743"/>
                    <a:pt x="11260" y="5340"/>
                  </a:cubicBezTo>
                  <a:cubicBezTo>
                    <a:pt x="11292" y="5437"/>
                    <a:pt x="11330" y="5529"/>
                    <a:pt x="11357" y="5625"/>
                  </a:cubicBezTo>
                  <a:cubicBezTo>
                    <a:pt x="11426" y="5834"/>
                    <a:pt x="11513" y="6044"/>
                    <a:pt x="11593" y="6243"/>
                  </a:cubicBezTo>
                  <a:cubicBezTo>
                    <a:pt x="11867" y="6925"/>
                    <a:pt x="12023" y="7366"/>
                    <a:pt x="11818" y="7753"/>
                  </a:cubicBezTo>
                  <a:cubicBezTo>
                    <a:pt x="11582" y="8209"/>
                    <a:pt x="11282" y="8633"/>
                    <a:pt x="10965" y="9085"/>
                  </a:cubicBezTo>
                  <a:cubicBezTo>
                    <a:pt x="10621" y="9568"/>
                    <a:pt x="10266" y="10057"/>
                    <a:pt x="9986" y="10615"/>
                  </a:cubicBezTo>
                  <a:cubicBezTo>
                    <a:pt x="9998" y="10562"/>
                    <a:pt x="10003" y="10513"/>
                    <a:pt x="10013" y="10465"/>
                  </a:cubicBezTo>
                  <a:cubicBezTo>
                    <a:pt x="10132" y="9804"/>
                    <a:pt x="10244" y="9176"/>
                    <a:pt x="10578" y="8584"/>
                  </a:cubicBezTo>
                  <a:cubicBezTo>
                    <a:pt x="10900" y="8016"/>
                    <a:pt x="10965" y="7258"/>
                    <a:pt x="10744" y="6667"/>
                  </a:cubicBezTo>
                  <a:cubicBezTo>
                    <a:pt x="10566" y="6194"/>
                    <a:pt x="10223" y="5845"/>
                    <a:pt x="9772" y="5683"/>
                  </a:cubicBezTo>
                  <a:cubicBezTo>
                    <a:pt x="7478" y="4845"/>
                    <a:pt x="5441" y="3610"/>
                    <a:pt x="3589" y="2402"/>
                  </a:cubicBezTo>
                  <a:cubicBezTo>
                    <a:pt x="3514" y="2353"/>
                    <a:pt x="3417" y="2267"/>
                    <a:pt x="3314" y="2176"/>
                  </a:cubicBezTo>
                  <a:cubicBezTo>
                    <a:pt x="3041" y="1924"/>
                    <a:pt x="2696" y="1612"/>
                    <a:pt x="2240" y="1612"/>
                  </a:cubicBezTo>
                  <a:cubicBezTo>
                    <a:pt x="2031" y="1612"/>
                    <a:pt x="1831" y="1676"/>
                    <a:pt x="1649" y="1805"/>
                  </a:cubicBezTo>
                  <a:cubicBezTo>
                    <a:pt x="1010" y="2261"/>
                    <a:pt x="940" y="3181"/>
                    <a:pt x="940" y="3836"/>
                  </a:cubicBezTo>
                  <a:cubicBezTo>
                    <a:pt x="945" y="4394"/>
                    <a:pt x="1074" y="4884"/>
                    <a:pt x="1198" y="5291"/>
                  </a:cubicBezTo>
                  <a:lnTo>
                    <a:pt x="1230" y="5393"/>
                  </a:lnTo>
                  <a:cubicBezTo>
                    <a:pt x="1434" y="6033"/>
                    <a:pt x="1622" y="6640"/>
                    <a:pt x="1461" y="7193"/>
                  </a:cubicBezTo>
                  <a:cubicBezTo>
                    <a:pt x="1278" y="7822"/>
                    <a:pt x="1337" y="8418"/>
                    <a:pt x="1397" y="8993"/>
                  </a:cubicBezTo>
                  <a:cubicBezTo>
                    <a:pt x="1456" y="9595"/>
                    <a:pt x="1509" y="10121"/>
                    <a:pt x="1278" y="10605"/>
                  </a:cubicBezTo>
                  <a:cubicBezTo>
                    <a:pt x="1144" y="10884"/>
                    <a:pt x="1129" y="11142"/>
                    <a:pt x="1219" y="11378"/>
                  </a:cubicBezTo>
                  <a:cubicBezTo>
                    <a:pt x="1364" y="11733"/>
                    <a:pt x="1697" y="11857"/>
                    <a:pt x="1918" y="11943"/>
                  </a:cubicBezTo>
                  <a:cubicBezTo>
                    <a:pt x="1934" y="11948"/>
                    <a:pt x="1950" y="11953"/>
                    <a:pt x="1972" y="11964"/>
                  </a:cubicBezTo>
                  <a:lnTo>
                    <a:pt x="1907" y="11986"/>
                  </a:lnTo>
                  <a:cubicBezTo>
                    <a:pt x="1397" y="12152"/>
                    <a:pt x="1058" y="12265"/>
                    <a:pt x="956" y="12652"/>
                  </a:cubicBezTo>
                  <a:cubicBezTo>
                    <a:pt x="849" y="13032"/>
                    <a:pt x="1085" y="13302"/>
                    <a:pt x="1434" y="13704"/>
                  </a:cubicBezTo>
                  <a:lnTo>
                    <a:pt x="1461" y="13731"/>
                  </a:lnTo>
                  <a:cubicBezTo>
                    <a:pt x="1612" y="13909"/>
                    <a:pt x="1644" y="14252"/>
                    <a:pt x="1526" y="14569"/>
                  </a:cubicBezTo>
                  <a:cubicBezTo>
                    <a:pt x="1456" y="14768"/>
                    <a:pt x="1310" y="14988"/>
                    <a:pt x="1117" y="15021"/>
                  </a:cubicBezTo>
                  <a:cubicBezTo>
                    <a:pt x="1085" y="15026"/>
                    <a:pt x="1052" y="15026"/>
                    <a:pt x="1020" y="15026"/>
                  </a:cubicBezTo>
                  <a:cubicBezTo>
                    <a:pt x="859" y="15037"/>
                    <a:pt x="370" y="15058"/>
                    <a:pt x="209" y="15623"/>
                  </a:cubicBezTo>
                  <a:cubicBezTo>
                    <a:pt x="0" y="16347"/>
                    <a:pt x="521" y="16643"/>
                    <a:pt x="806" y="16778"/>
                  </a:cubicBezTo>
                  <a:cubicBezTo>
                    <a:pt x="827" y="16783"/>
                    <a:pt x="844" y="16793"/>
                    <a:pt x="859" y="16804"/>
                  </a:cubicBezTo>
                  <a:cubicBezTo>
                    <a:pt x="1107" y="16917"/>
                    <a:pt x="1348" y="17041"/>
                    <a:pt x="1590" y="17180"/>
                  </a:cubicBezTo>
                  <a:cubicBezTo>
                    <a:pt x="1843" y="17218"/>
                    <a:pt x="2133" y="17326"/>
                    <a:pt x="2450" y="17508"/>
                  </a:cubicBezTo>
                  <a:cubicBezTo>
                    <a:pt x="2977" y="17812"/>
                    <a:pt x="3347" y="18428"/>
                    <a:pt x="4034" y="18428"/>
                  </a:cubicBezTo>
                  <a:cubicBezTo>
                    <a:pt x="4074" y="18428"/>
                    <a:pt x="4116" y="18426"/>
                    <a:pt x="4158" y="18422"/>
                  </a:cubicBezTo>
                  <a:cubicBezTo>
                    <a:pt x="4297" y="18637"/>
                    <a:pt x="4476" y="18722"/>
                    <a:pt x="4687" y="18722"/>
                  </a:cubicBezTo>
                  <a:cubicBezTo>
                    <a:pt x="4771" y="18722"/>
                    <a:pt x="4860" y="18709"/>
                    <a:pt x="4953" y="18685"/>
                  </a:cubicBezTo>
                  <a:lnTo>
                    <a:pt x="4953" y="18685"/>
                  </a:lnTo>
                  <a:cubicBezTo>
                    <a:pt x="4856" y="19228"/>
                    <a:pt x="5066" y="19749"/>
                    <a:pt x="5007" y="20317"/>
                  </a:cubicBezTo>
                  <a:cubicBezTo>
                    <a:pt x="4937" y="20989"/>
                    <a:pt x="4663" y="21774"/>
                    <a:pt x="5222" y="22407"/>
                  </a:cubicBezTo>
                  <a:cubicBezTo>
                    <a:pt x="5227" y="22585"/>
                    <a:pt x="5319" y="22677"/>
                    <a:pt x="5495" y="22687"/>
                  </a:cubicBezTo>
                  <a:cubicBezTo>
                    <a:pt x="5709" y="23030"/>
                    <a:pt x="5994" y="23234"/>
                    <a:pt x="6384" y="23234"/>
                  </a:cubicBezTo>
                  <a:cubicBezTo>
                    <a:pt x="6445" y="23234"/>
                    <a:pt x="6509" y="23228"/>
                    <a:pt x="6576" y="23218"/>
                  </a:cubicBezTo>
                  <a:cubicBezTo>
                    <a:pt x="6571" y="23214"/>
                    <a:pt x="6570" y="23210"/>
                    <a:pt x="6567" y="23208"/>
                  </a:cubicBezTo>
                  <a:lnTo>
                    <a:pt x="6567" y="23208"/>
                  </a:lnTo>
                  <a:cubicBezTo>
                    <a:pt x="8587" y="23664"/>
                    <a:pt x="10691" y="23483"/>
                    <a:pt x="12700" y="24051"/>
                  </a:cubicBezTo>
                  <a:cubicBezTo>
                    <a:pt x="12833" y="24186"/>
                    <a:pt x="12980" y="24226"/>
                    <a:pt x="13134" y="24226"/>
                  </a:cubicBezTo>
                  <a:cubicBezTo>
                    <a:pt x="13357" y="24226"/>
                    <a:pt x="13594" y="24141"/>
                    <a:pt x="13819" y="24141"/>
                  </a:cubicBezTo>
                  <a:cubicBezTo>
                    <a:pt x="13835" y="24141"/>
                    <a:pt x="13850" y="24142"/>
                    <a:pt x="13866" y="24143"/>
                  </a:cubicBezTo>
                  <a:cubicBezTo>
                    <a:pt x="13898" y="24143"/>
                    <a:pt x="13930" y="24148"/>
                    <a:pt x="13963" y="24153"/>
                  </a:cubicBezTo>
                  <a:cubicBezTo>
                    <a:pt x="14027" y="24165"/>
                    <a:pt x="14091" y="24192"/>
                    <a:pt x="14151" y="24229"/>
                  </a:cubicBezTo>
                  <a:cubicBezTo>
                    <a:pt x="14177" y="24244"/>
                    <a:pt x="14209" y="24266"/>
                    <a:pt x="14236" y="24293"/>
                  </a:cubicBezTo>
                  <a:cubicBezTo>
                    <a:pt x="14526" y="24293"/>
                    <a:pt x="14811" y="24293"/>
                    <a:pt x="15101" y="24288"/>
                  </a:cubicBezTo>
                  <a:cubicBezTo>
                    <a:pt x="15203" y="24551"/>
                    <a:pt x="15391" y="24728"/>
                    <a:pt x="15654" y="24830"/>
                  </a:cubicBezTo>
                  <a:lnTo>
                    <a:pt x="15654" y="24814"/>
                  </a:lnTo>
                  <a:cubicBezTo>
                    <a:pt x="16087" y="24992"/>
                    <a:pt x="16519" y="25169"/>
                    <a:pt x="16933" y="25169"/>
                  </a:cubicBezTo>
                  <a:cubicBezTo>
                    <a:pt x="17320" y="25169"/>
                    <a:pt x="17691" y="25014"/>
                    <a:pt x="18029" y="24556"/>
                  </a:cubicBezTo>
                  <a:cubicBezTo>
                    <a:pt x="18579" y="24606"/>
                    <a:pt x="19130" y="24692"/>
                    <a:pt x="19681" y="24692"/>
                  </a:cubicBezTo>
                  <a:cubicBezTo>
                    <a:pt x="20024" y="24692"/>
                    <a:pt x="20367" y="24659"/>
                    <a:pt x="20710" y="24562"/>
                  </a:cubicBezTo>
                  <a:cubicBezTo>
                    <a:pt x="20853" y="24786"/>
                    <a:pt x="21044" y="24830"/>
                    <a:pt x="21246" y="24830"/>
                  </a:cubicBezTo>
                  <a:cubicBezTo>
                    <a:pt x="21377" y="24830"/>
                    <a:pt x="21513" y="24812"/>
                    <a:pt x="21644" y="24812"/>
                  </a:cubicBezTo>
                  <a:cubicBezTo>
                    <a:pt x="21688" y="24812"/>
                    <a:pt x="21731" y="24814"/>
                    <a:pt x="21773" y="24819"/>
                  </a:cubicBezTo>
                  <a:cubicBezTo>
                    <a:pt x="21891" y="25037"/>
                    <a:pt x="22095" y="25129"/>
                    <a:pt x="22281" y="25129"/>
                  </a:cubicBezTo>
                  <a:cubicBezTo>
                    <a:pt x="22385" y="25129"/>
                    <a:pt x="22483" y="25100"/>
                    <a:pt x="22557" y="25050"/>
                  </a:cubicBezTo>
                  <a:cubicBezTo>
                    <a:pt x="22908" y="24823"/>
                    <a:pt x="23252" y="24742"/>
                    <a:pt x="23592" y="24742"/>
                  </a:cubicBezTo>
                  <a:cubicBezTo>
                    <a:pt x="24189" y="24742"/>
                    <a:pt x="24773" y="24990"/>
                    <a:pt x="25351" y="25120"/>
                  </a:cubicBezTo>
                  <a:cubicBezTo>
                    <a:pt x="27811" y="25685"/>
                    <a:pt x="30224" y="26458"/>
                    <a:pt x="32722" y="26888"/>
                  </a:cubicBezTo>
                  <a:cubicBezTo>
                    <a:pt x="32727" y="26899"/>
                    <a:pt x="32733" y="26915"/>
                    <a:pt x="32738" y="26925"/>
                  </a:cubicBezTo>
                  <a:cubicBezTo>
                    <a:pt x="32824" y="26893"/>
                    <a:pt x="32904" y="26850"/>
                    <a:pt x="32980" y="26791"/>
                  </a:cubicBezTo>
                  <a:cubicBezTo>
                    <a:pt x="32985" y="26490"/>
                    <a:pt x="32985" y="26184"/>
                    <a:pt x="32990" y="25883"/>
                  </a:cubicBezTo>
                  <a:cubicBezTo>
                    <a:pt x="33377" y="25529"/>
                    <a:pt x="33377" y="25179"/>
                    <a:pt x="32990" y="24830"/>
                  </a:cubicBezTo>
                  <a:lnTo>
                    <a:pt x="32990" y="24019"/>
                  </a:lnTo>
                  <a:cubicBezTo>
                    <a:pt x="33484" y="23885"/>
                    <a:pt x="33420" y="23433"/>
                    <a:pt x="33501" y="23074"/>
                  </a:cubicBezTo>
                  <a:cubicBezTo>
                    <a:pt x="34393" y="19045"/>
                    <a:pt x="35279" y="15010"/>
                    <a:pt x="36171" y="10981"/>
                  </a:cubicBezTo>
                  <a:cubicBezTo>
                    <a:pt x="36020" y="10438"/>
                    <a:pt x="36095" y="9923"/>
                    <a:pt x="36224" y="9417"/>
                  </a:cubicBezTo>
                  <a:cubicBezTo>
                    <a:pt x="36300" y="9117"/>
                    <a:pt x="36397" y="8810"/>
                    <a:pt x="36482" y="8510"/>
                  </a:cubicBezTo>
                  <a:cubicBezTo>
                    <a:pt x="36853" y="8338"/>
                    <a:pt x="36751" y="8016"/>
                    <a:pt x="36724" y="7714"/>
                  </a:cubicBezTo>
                  <a:cubicBezTo>
                    <a:pt x="36735" y="7704"/>
                    <a:pt x="36746" y="7693"/>
                    <a:pt x="36757" y="7682"/>
                  </a:cubicBezTo>
                  <a:cubicBezTo>
                    <a:pt x="33942" y="6650"/>
                    <a:pt x="31240" y="5683"/>
                    <a:pt x="28257" y="5050"/>
                  </a:cubicBezTo>
                  <a:cubicBezTo>
                    <a:pt x="24788" y="4314"/>
                    <a:pt x="21429" y="3347"/>
                    <a:pt x="18260" y="1773"/>
                  </a:cubicBezTo>
                  <a:cubicBezTo>
                    <a:pt x="17529" y="1574"/>
                    <a:pt x="16799" y="1376"/>
                    <a:pt x="16073" y="1182"/>
                  </a:cubicBezTo>
                  <a:cubicBezTo>
                    <a:pt x="14650" y="796"/>
                    <a:pt x="13221" y="409"/>
                    <a:pt x="11786" y="17"/>
                  </a:cubicBezTo>
                  <a:cubicBezTo>
                    <a:pt x="11738" y="5"/>
                    <a:pt x="11689" y="0"/>
                    <a:pt x="11647" y="0"/>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WA</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70" name="Google Shape;1168;p29">
              <a:extLst>
                <a:ext uri="{FF2B5EF4-FFF2-40B4-BE49-F238E27FC236}">
                  <a16:creationId xmlns:a16="http://schemas.microsoft.com/office/drawing/2014/main" id="{F47C985D-43ED-7384-A835-5CB0D0983B31}"/>
                </a:ext>
              </a:extLst>
            </p:cNvPr>
            <p:cNvSpPr/>
            <p:nvPr/>
          </p:nvSpPr>
          <p:spPr>
            <a:xfrm>
              <a:off x="732625" y="1132775"/>
              <a:ext cx="425" cy="275"/>
            </a:xfrm>
            <a:custGeom>
              <a:avLst/>
              <a:gdLst/>
              <a:ahLst/>
              <a:cxnLst/>
              <a:rect l="l" t="t" r="r" b="b"/>
              <a:pathLst>
                <a:path w="17" h="11" extrusionOk="0">
                  <a:moveTo>
                    <a:pt x="1" y="1"/>
                  </a:moveTo>
                  <a:cubicBezTo>
                    <a:pt x="1" y="1"/>
                    <a:pt x="6" y="6"/>
                    <a:pt x="16" y="11"/>
                  </a:cubicBezTo>
                  <a:lnTo>
                    <a:pt x="1"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71" name="Google Shape;1169;p29">
              <a:extLst>
                <a:ext uri="{FF2B5EF4-FFF2-40B4-BE49-F238E27FC236}">
                  <a16:creationId xmlns:a16="http://schemas.microsoft.com/office/drawing/2014/main" id="{25065C0A-7BBB-97F1-0F82-FC88BF545059}"/>
                </a:ext>
              </a:extLst>
            </p:cNvPr>
            <p:cNvSpPr/>
            <p:nvPr/>
          </p:nvSpPr>
          <p:spPr>
            <a:xfrm>
              <a:off x="6717925" y="1652675"/>
              <a:ext cx="321850" cy="185225"/>
            </a:xfrm>
            <a:custGeom>
              <a:avLst/>
              <a:gdLst/>
              <a:ahLst/>
              <a:cxnLst/>
              <a:rect l="l" t="t" r="r" b="b"/>
              <a:pathLst>
                <a:path w="12874" h="7409" extrusionOk="0">
                  <a:moveTo>
                    <a:pt x="12653" y="0"/>
                  </a:moveTo>
                  <a:cubicBezTo>
                    <a:pt x="12673" y="102"/>
                    <a:pt x="12673" y="204"/>
                    <a:pt x="12641" y="301"/>
                  </a:cubicBezTo>
                  <a:cubicBezTo>
                    <a:pt x="12571" y="506"/>
                    <a:pt x="12390" y="645"/>
                    <a:pt x="12174" y="662"/>
                  </a:cubicBezTo>
                  <a:lnTo>
                    <a:pt x="12164" y="662"/>
                  </a:lnTo>
                  <a:cubicBezTo>
                    <a:pt x="12222" y="575"/>
                    <a:pt x="12271" y="489"/>
                    <a:pt x="12303" y="409"/>
                  </a:cubicBezTo>
                  <a:lnTo>
                    <a:pt x="12303" y="409"/>
                  </a:lnTo>
                  <a:cubicBezTo>
                    <a:pt x="10729" y="538"/>
                    <a:pt x="9144" y="558"/>
                    <a:pt x="7580" y="855"/>
                  </a:cubicBezTo>
                  <a:cubicBezTo>
                    <a:pt x="6496" y="1113"/>
                    <a:pt x="5405" y="1371"/>
                    <a:pt x="4315" y="1622"/>
                  </a:cubicBezTo>
                  <a:cubicBezTo>
                    <a:pt x="4186" y="1654"/>
                    <a:pt x="4057" y="1676"/>
                    <a:pt x="3923" y="1698"/>
                  </a:cubicBezTo>
                  <a:cubicBezTo>
                    <a:pt x="3858" y="1676"/>
                    <a:pt x="3794" y="1654"/>
                    <a:pt x="3739" y="1622"/>
                  </a:cubicBezTo>
                  <a:cubicBezTo>
                    <a:pt x="3712" y="1666"/>
                    <a:pt x="3687" y="1703"/>
                    <a:pt x="3654" y="1741"/>
                  </a:cubicBezTo>
                  <a:cubicBezTo>
                    <a:pt x="2482" y="1902"/>
                    <a:pt x="1123" y="1929"/>
                    <a:pt x="608" y="2574"/>
                  </a:cubicBezTo>
                  <a:cubicBezTo>
                    <a:pt x="419" y="2547"/>
                    <a:pt x="238" y="2499"/>
                    <a:pt x="65" y="2423"/>
                  </a:cubicBezTo>
                  <a:cubicBezTo>
                    <a:pt x="55" y="2434"/>
                    <a:pt x="44" y="2450"/>
                    <a:pt x="38" y="2467"/>
                  </a:cubicBezTo>
                  <a:cubicBezTo>
                    <a:pt x="102" y="2911"/>
                    <a:pt x="97" y="3369"/>
                    <a:pt x="70" y="3826"/>
                  </a:cubicBezTo>
                  <a:cubicBezTo>
                    <a:pt x="0" y="5023"/>
                    <a:pt x="87" y="6206"/>
                    <a:pt x="238" y="7382"/>
                  </a:cubicBezTo>
                  <a:cubicBezTo>
                    <a:pt x="291" y="7398"/>
                    <a:pt x="345" y="7409"/>
                    <a:pt x="404" y="7409"/>
                  </a:cubicBezTo>
                  <a:lnTo>
                    <a:pt x="436" y="7409"/>
                  </a:lnTo>
                  <a:cubicBezTo>
                    <a:pt x="506" y="7173"/>
                    <a:pt x="618" y="6990"/>
                    <a:pt x="786" y="6839"/>
                  </a:cubicBezTo>
                  <a:cubicBezTo>
                    <a:pt x="1633" y="6703"/>
                    <a:pt x="2424" y="6258"/>
                    <a:pt x="3301" y="6258"/>
                  </a:cubicBezTo>
                  <a:cubicBezTo>
                    <a:pt x="3357" y="6258"/>
                    <a:pt x="3414" y="6260"/>
                    <a:pt x="3471" y="6264"/>
                  </a:cubicBezTo>
                  <a:cubicBezTo>
                    <a:pt x="3466" y="6308"/>
                    <a:pt x="3476" y="6360"/>
                    <a:pt x="3455" y="6393"/>
                  </a:cubicBezTo>
                  <a:cubicBezTo>
                    <a:pt x="3412" y="6464"/>
                    <a:pt x="3348" y="6522"/>
                    <a:pt x="3293" y="6586"/>
                  </a:cubicBezTo>
                  <a:cubicBezTo>
                    <a:pt x="3912" y="6360"/>
                    <a:pt x="4530" y="6141"/>
                    <a:pt x="5142" y="5921"/>
                  </a:cubicBezTo>
                  <a:cubicBezTo>
                    <a:pt x="6189" y="5582"/>
                    <a:pt x="7258" y="5319"/>
                    <a:pt x="8371" y="5152"/>
                  </a:cubicBezTo>
                  <a:cubicBezTo>
                    <a:pt x="8403" y="5168"/>
                    <a:pt x="8440" y="5185"/>
                    <a:pt x="8478" y="5206"/>
                  </a:cubicBezTo>
                  <a:cubicBezTo>
                    <a:pt x="8495" y="5179"/>
                    <a:pt x="8510" y="5157"/>
                    <a:pt x="8527" y="5130"/>
                  </a:cubicBezTo>
                  <a:cubicBezTo>
                    <a:pt x="8639" y="5115"/>
                    <a:pt x="8752" y="5093"/>
                    <a:pt x="8865" y="5083"/>
                  </a:cubicBezTo>
                  <a:cubicBezTo>
                    <a:pt x="9462" y="4781"/>
                    <a:pt x="10106" y="4684"/>
                    <a:pt x="10481" y="3997"/>
                  </a:cubicBezTo>
                  <a:cubicBezTo>
                    <a:pt x="10746" y="3519"/>
                    <a:pt x="11062" y="3052"/>
                    <a:pt x="11423" y="2638"/>
                  </a:cubicBezTo>
                  <a:cubicBezTo>
                    <a:pt x="11470" y="2584"/>
                    <a:pt x="11519" y="2536"/>
                    <a:pt x="11567" y="2487"/>
                  </a:cubicBezTo>
                  <a:cubicBezTo>
                    <a:pt x="11540" y="2407"/>
                    <a:pt x="11535" y="2311"/>
                    <a:pt x="11545" y="2209"/>
                  </a:cubicBezTo>
                  <a:cubicBezTo>
                    <a:pt x="11616" y="2177"/>
                    <a:pt x="11691" y="2160"/>
                    <a:pt x="11766" y="2160"/>
                  </a:cubicBezTo>
                  <a:cubicBezTo>
                    <a:pt x="11830" y="2160"/>
                    <a:pt x="11889" y="2170"/>
                    <a:pt x="11949" y="2192"/>
                  </a:cubicBezTo>
                  <a:cubicBezTo>
                    <a:pt x="11943" y="2187"/>
                    <a:pt x="11964" y="2187"/>
                    <a:pt x="11991" y="2182"/>
                  </a:cubicBezTo>
                  <a:cubicBezTo>
                    <a:pt x="12029" y="2177"/>
                    <a:pt x="12061" y="2170"/>
                    <a:pt x="12099" y="2165"/>
                  </a:cubicBezTo>
                  <a:lnTo>
                    <a:pt x="12125" y="2068"/>
                  </a:lnTo>
                  <a:cubicBezTo>
                    <a:pt x="12212" y="1730"/>
                    <a:pt x="12303" y="1376"/>
                    <a:pt x="12470" y="1155"/>
                  </a:cubicBezTo>
                  <a:cubicBezTo>
                    <a:pt x="12583" y="999"/>
                    <a:pt x="12717" y="816"/>
                    <a:pt x="12797" y="613"/>
                  </a:cubicBezTo>
                  <a:cubicBezTo>
                    <a:pt x="12873" y="441"/>
                    <a:pt x="12846" y="243"/>
                    <a:pt x="12738" y="97"/>
                  </a:cubicBezTo>
                  <a:cubicBezTo>
                    <a:pt x="12712" y="59"/>
                    <a:pt x="12685" y="32"/>
                    <a:pt x="12653"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0" tIns="91425" rIns="0"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A</a:t>
              </a:r>
              <a:endParaRPr kumimoji="0" sz="5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72" name="Google Shape;1170;p29">
              <a:extLst>
                <a:ext uri="{FF2B5EF4-FFF2-40B4-BE49-F238E27FC236}">
                  <a16:creationId xmlns:a16="http://schemas.microsoft.com/office/drawing/2014/main" id="{33D50B1F-A2A5-E0B4-04CD-BB14326CA89C}"/>
                </a:ext>
              </a:extLst>
            </p:cNvPr>
            <p:cNvSpPr/>
            <p:nvPr/>
          </p:nvSpPr>
          <p:spPr>
            <a:xfrm>
              <a:off x="6929850" y="1705975"/>
              <a:ext cx="252550" cy="202025"/>
            </a:xfrm>
            <a:custGeom>
              <a:avLst/>
              <a:gdLst/>
              <a:ahLst/>
              <a:cxnLst/>
              <a:rect l="l" t="t" r="r" b="b"/>
              <a:pathLst>
                <a:path w="10102" h="8081" extrusionOk="0">
                  <a:moveTo>
                    <a:pt x="4003" y="1"/>
                  </a:moveTo>
                  <a:cubicBezTo>
                    <a:pt x="3886" y="1"/>
                    <a:pt x="3757" y="12"/>
                    <a:pt x="3622" y="33"/>
                  </a:cubicBezTo>
                  <a:cubicBezTo>
                    <a:pt x="3584" y="38"/>
                    <a:pt x="3552" y="45"/>
                    <a:pt x="3514" y="50"/>
                  </a:cubicBezTo>
                  <a:cubicBezTo>
                    <a:pt x="3487" y="55"/>
                    <a:pt x="3466" y="55"/>
                    <a:pt x="3472" y="60"/>
                  </a:cubicBezTo>
                  <a:cubicBezTo>
                    <a:pt x="3412" y="38"/>
                    <a:pt x="3353" y="28"/>
                    <a:pt x="3289" y="28"/>
                  </a:cubicBezTo>
                  <a:cubicBezTo>
                    <a:pt x="3214" y="28"/>
                    <a:pt x="3139" y="45"/>
                    <a:pt x="3068" y="77"/>
                  </a:cubicBezTo>
                  <a:cubicBezTo>
                    <a:pt x="3058" y="179"/>
                    <a:pt x="3063" y="275"/>
                    <a:pt x="3090" y="355"/>
                  </a:cubicBezTo>
                  <a:cubicBezTo>
                    <a:pt x="3042" y="404"/>
                    <a:pt x="2993" y="452"/>
                    <a:pt x="2946" y="506"/>
                  </a:cubicBezTo>
                  <a:cubicBezTo>
                    <a:pt x="2585" y="920"/>
                    <a:pt x="2269" y="1387"/>
                    <a:pt x="2004" y="1865"/>
                  </a:cubicBezTo>
                  <a:cubicBezTo>
                    <a:pt x="1629" y="2552"/>
                    <a:pt x="985" y="2649"/>
                    <a:pt x="388" y="2951"/>
                  </a:cubicBezTo>
                  <a:cubicBezTo>
                    <a:pt x="275" y="2961"/>
                    <a:pt x="162" y="2983"/>
                    <a:pt x="50" y="2998"/>
                  </a:cubicBezTo>
                  <a:cubicBezTo>
                    <a:pt x="33" y="3025"/>
                    <a:pt x="18" y="3047"/>
                    <a:pt x="1" y="3074"/>
                  </a:cubicBezTo>
                  <a:cubicBezTo>
                    <a:pt x="152" y="3154"/>
                    <a:pt x="291" y="3283"/>
                    <a:pt x="409" y="3461"/>
                  </a:cubicBezTo>
                  <a:cubicBezTo>
                    <a:pt x="259" y="3896"/>
                    <a:pt x="511" y="4486"/>
                    <a:pt x="662" y="5041"/>
                  </a:cubicBezTo>
                  <a:cubicBezTo>
                    <a:pt x="898" y="5911"/>
                    <a:pt x="1097" y="6786"/>
                    <a:pt x="1285" y="7523"/>
                  </a:cubicBezTo>
                  <a:cubicBezTo>
                    <a:pt x="1248" y="7710"/>
                    <a:pt x="1178" y="7877"/>
                    <a:pt x="1064" y="8022"/>
                  </a:cubicBezTo>
                  <a:cubicBezTo>
                    <a:pt x="1124" y="8049"/>
                    <a:pt x="1183" y="8071"/>
                    <a:pt x="1253" y="8076"/>
                  </a:cubicBezTo>
                  <a:cubicBezTo>
                    <a:pt x="1322" y="8076"/>
                    <a:pt x="1392" y="8081"/>
                    <a:pt x="1456" y="8081"/>
                  </a:cubicBezTo>
                  <a:cubicBezTo>
                    <a:pt x="2569" y="8081"/>
                    <a:pt x="2919" y="7419"/>
                    <a:pt x="3058" y="6807"/>
                  </a:cubicBezTo>
                  <a:cubicBezTo>
                    <a:pt x="3095" y="6839"/>
                    <a:pt x="3139" y="6861"/>
                    <a:pt x="3192" y="6883"/>
                  </a:cubicBezTo>
                  <a:cubicBezTo>
                    <a:pt x="3256" y="6910"/>
                    <a:pt x="3321" y="6921"/>
                    <a:pt x="3390" y="6921"/>
                  </a:cubicBezTo>
                  <a:cubicBezTo>
                    <a:pt x="3519" y="6921"/>
                    <a:pt x="3655" y="6872"/>
                    <a:pt x="3757" y="6775"/>
                  </a:cubicBezTo>
                  <a:cubicBezTo>
                    <a:pt x="3971" y="6571"/>
                    <a:pt x="4176" y="6367"/>
                    <a:pt x="4369" y="6174"/>
                  </a:cubicBezTo>
                  <a:cubicBezTo>
                    <a:pt x="4809" y="5733"/>
                    <a:pt x="5190" y="5357"/>
                    <a:pt x="5614" y="5066"/>
                  </a:cubicBezTo>
                  <a:cubicBezTo>
                    <a:pt x="5792" y="4954"/>
                    <a:pt x="5905" y="4766"/>
                    <a:pt x="6023" y="4573"/>
                  </a:cubicBezTo>
                  <a:cubicBezTo>
                    <a:pt x="6040" y="4551"/>
                    <a:pt x="6055" y="4525"/>
                    <a:pt x="6077" y="4498"/>
                  </a:cubicBezTo>
                  <a:cubicBezTo>
                    <a:pt x="6098" y="4546"/>
                    <a:pt x="6125" y="4600"/>
                    <a:pt x="6152" y="4669"/>
                  </a:cubicBezTo>
                  <a:cubicBezTo>
                    <a:pt x="6259" y="4938"/>
                    <a:pt x="6502" y="5105"/>
                    <a:pt x="6775" y="5105"/>
                  </a:cubicBezTo>
                  <a:cubicBezTo>
                    <a:pt x="7097" y="5105"/>
                    <a:pt x="7362" y="4880"/>
                    <a:pt x="7555" y="4680"/>
                  </a:cubicBezTo>
                  <a:cubicBezTo>
                    <a:pt x="7888" y="4332"/>
                    <a:pt x="8193" y="4138"/>
                    <a:pt x="8505" y="4074"/>
                  </a:cubicBezTo>
                  <a:cubicBezTo>
                    <a:pt x="9263" y="3918"/>
                    <a:pt x="9725" y="3611"/>
                    <a:pt x="9913" y="3139"/>
                  </a:cubicBezTo>
                  <a:cubicBezTo>
                    <a:pt x="10101" y="2661"/>
                    <a:pt x="9978" y="2113"/>
                    <a:pt x="9526" y="1463"/>
                  </a:cubicBezTo>
                  <a:cubicBezTo>
                    <a:pt x="9430" y="1317"/>
                    <a:pt x="9263" y="1237"/>
                    <a:pt x="9091" y="1237"/>
                  </a:cubicBezTo>
                  <a:lnTo>
                    <a:pt x="9048" y="1237"/>
                  </a:lnTo>
                  <a:cubicBezTo>
                    <a:pt x="8860" y="1247"/>
                    <a:pt x="8693" y="1360"/>
                    <a:pt x="8607" y="1532"/>
                  </a:cubicBezTo>
                  <a:cubicBezTo>
                    <a:pt x="8285" y="2187"/>
                    <a:pt x="7866" y="2552"/>
                    <a:pt x="7436" y="2552"/>
                  </a:cubicBezTo>
                  <a:cubicBezTo>
                    <a:pt x="7033" y="2552"/>
                    <a:pt x="6593" y="2236"/>
                    <a:pt x="6190" y="1667"/>
                  </a:cubicBezTo>
                  <a:cubicBezTo>
                    <a:pt x="6130" y="1580"/>
                    <a:pt x="6077" y="1495"/>
                    <a:pt x="6018" y="1409"/>
                  </a:cubicBezTo>
                  <a:cubicBezTo>
                    <a:pt x="5599" y="779"/>
                    <a:pt x="5078" y="1"/>
                    <a:pt x="4003" y="1"/>
                  </a:cubicBezTo>
                  <a:close/>
                </a:path>
              </a:pathLst>
            </a:custGeom>
            <a:solidFill>
              <a:srgbClr val="F2685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73" name="Google Shape;1171;p29">
              <a:extLst>
                <a:ext uri="{FF2B5EF4-FFF2-40B4-BE49-F238E27FC236}">
                  <a16:creationId xmlns:a16="http://schemas.microsoft.com/office/drawing/2014/main" id="{B474F69F-2052-0C02-7F88-EC29142D64CC}"/>
                </a:ext>
              </a:extLst>
            </p:cNvPr>
            <p:cNvSpPr/>
            <p:nvPr/>
          </p:nvSpPr>
          <p:spPr>
            <a:xfrm>
              <a:off x="6615700" y="1275950"/>
              <a:ext cx="225675" cy="441075"/>
            </a:xfrm>
            <a:custGeom>
              <a:avLst/>
              <a:gdLst/>
              <a:ahLst/>
              <a:cxnLst/>
              <a:rect l="l" t="t" r="r" b="b"/>
              <a:pathLst>
                <a:path w="9027" h="17643" extrusionOk="0">
                  <a:moveTo>
                    <a:pt x="8409" y="1"/>
                  </a:moveTo>
                  <a:cubicBezTo>
                    <a:pt x="7845" y="135"/>
                    <a:pt x="7275" y="274"/>
                    <a:pt x="6700" y="408"/>
                  </a:cubicBezTo>
                  <a:cubicBezTo>
                    <a:pt x="5428" y="710"/>
                    <a:pt x="4106" y="1016"/>
                    <a:pt x="2800" y="1338"/>
                  </a:cubicBezTo>
                  <a:cubicBezTo>
                    <a:pt x="1361" y="1692"/>
                    <a:pt x="598" y="1940"/>
                    <a:pt x="254" y="2451"/>
                  </a:cubicBezTo>
                  <a:cubicBezTo>
                    <a:pt x="60" y="2729"/>
                    <a:pt x="1" y="3095"/>
                    <a:pt x="18" y="3594"/>
                  </a:cubicBezTo>
                  <a:cubicBezTo>
                    <a:pt x="50" y="4040"/>
                    <a:pt x="254" y="4604"/>
                    <a:pt x="689" y="4953"/>
                  </a:cubicBezTo>
                  <a:cubicBezTo>
                    <a:pt x="695" y="5823"/>
                    <a:pt x="1297" y="6602"/>
                    <a:pt x="1060" y="7511"/>
                  </a:cubicBezTo>
                  <a:cubicBezTo>
                    <a:pt x="759" y="8650"/>
                    <a:pt x="1081" y="9649"/>
                    <a:pt x="1763" y="10562"/>
                  </a:cubicBezTo>
                  <a:cubicBezTo>
                    <a:pt x="1790" y="11151"/>
                    <a:pt x="1545" y="11910"/>
                    <a:pt x="2549" y="11910"/>
                  </a:cubicBezTo>
                  <a:cubicBezTo>
                    <a:pt x="2552" y="11910"/>
                    <a:pt x="2556" y="11910"/>
                    <a:pt x="2559" y="11910"/>
                  </a:cubicBezTo>
                  <a:cubicBezTo>
                    <a:pt x="2559" y="12136"/>
                    <a:pt x="2569" y="12356"/>
                    <a:pt x="2832" y="12448"/>
                  </a:cubicBezTo>
                  <a:cubicBezTo>
                    <a:pt x="3160" y="13586"/>
                    <a:pt x="2715" y="14903"/>
                    <a:pt x="3623" y="15907"/>
                  </a:cubicBezTo>
                  <a:cubicBezTo>
                    <a:pt x="3553" y="16235"/>
                    <a:pt x="3569" y="16530"/>
                    <a:pt x="3901" y="16718"/>
                  </a:cubicBezTo>
                  <a:cubicBezTo>
                    <a:pt x="4004" y="16966"/>
                    <a:pt x="4074" y="17213"/>
                    <a:pt x="4111" y="17471"/>
                  </a:cubicBezTo>
                  <a:cubicBezTo>
                    <a:pt x="4127" y="17476"/>
                    <a:pt x="4138" y="17487"/>
                    <a:pt x="4154" y="17492"/>
                  </a:cubicBezTo>
                  <a:cubicBezTo>
                    <a:pt x="4327" y="17568"/>
                    <a:pt x="4508" y="17616"/>
                    <a:pt x="4697" y="17643"/>
                  </a:cubicBezTo>
                  <a:cubicBezTo>
                    <a:pt x="5212" y="16998"/>
                    <a:pt x="6571" y="16971"/>
                    <a:pt x="7743" y="16810"/>
                  </a:cubicBezTo>
                  <a:cubicBezTo>
                    <a:pt x="7776" y="16772"/>
                    <a:pt x="7801" y="16735"/>
                    <a:pt x="7828" y="16691"/>
                  </a:cubicBezTo>
                  <a:cubicBezTo>
                    <a:pt x="7647" y="16601"/>
                    <a:pt x="7518" y="16477"/>
                    <a:pt x="7415" y="16343"/>
                  </a:cubicBezTo>
                  <a:cubicBezTo>
                    <a:pt x="7486" y="16150"/>
                    <a:pt x="7442" y="15897"/>
                    <a:pt x="7415" y="15627"/>
                  </a:cubicBezTo>
                  <a:cubicBezTo>
                    <a:pt x="7362" y="15134"/>
                    <a:pt x="7357" y="14640"/>
                    <a:pt x="7313" y="14134"/>
                  </a:cubicBezTo>
                  <a:cubicBezTo>
                    <a:pt x="7243" y="13302"/>
                    <a:pt x="7152" y="12507"/>
                    <a:pt x="6985" y="11685"/>
                  </a:cubicBezTo>
                  <a:cubicBezTo>
                    <a:pt x="6867" y="11083"/>
                    <a:pt x="6990" y="10492"/>
                    <a:pt x="7152" y="9907"/>
                  </a:cubicBezTo>
                  <a:cubicBezTo>
                    <a:pt x="7206" y="9445"/>
                    <a:pt x="7292" y="8982"/>
                    <a:pt x="7426" y="8526"/>
                  </a:cubicBezTo>
                  <a:cubicBezTo>
                    <a:pt x="7506" y="8263"/>
                    <a:pt x="7560" y="8005"/>
                    <a:pt x="7593" y="7747"/>
                  </a:cubicBezTo>
                  <a:cubicBezTo>
                    <a:pt x="7593" y="7688"/>
                    <a:pt x="7587" y="7628"/>
                    <a:pt x="7582" y="7569"/>
                  </a:cubicBezTo>
                  <a:cubicBezTo>
                    <a:pt x="7533" y="7075"/>
                    <a:pt x="7174" y="6436"/>
                    <a:pt x="7345" y="5925"/>
                  </a:cubicBezTo>
                  <a:cubicBezTo>
                    <a:pt x="7415" y="5722"/>
                    <a:pt x="7523" y="5560"/>
                    <a:pt x="7652" y="5426"/>
                  </a:cubicBezTo>
                  <a:cubicBezTo>
                    <a:pt x="7662" y="5319"/>
                    <a:pt x="7721" y="5265"/>
                    <a:pt x="7828" y="5255"/>
                  </a:cubicBezTo>
                  <a:cubicBezTo>
                    <a:pt x="7856" y="5228"/>
                    <a:pt x="7888" y="5206"/>
                    <a:pt x="7920" y="5179"/>
                  </a:cubicBezTo>
                  <a:cubicBezTo>
                    <a:pt x="7937" y="5050"/>
                    <a:pt x="8017" y="4985"/>
                    <a:pt x="8156" y="4980"/>
                  </a:cubicBezTo>
                  <a:cubicBezTo>
                    <a:pt x="8156" y="4980"/>
                    <a:pt x="8156" y="4985"/>
                    <a:pt x="8162" y="4985"/>
                  </a:cubicBezTo>
                  <a:cubicBezTo>
                    <a:pt x="8168" y="4980"/>
                    <a:pt x="8173" y="4975"/>
                    <a:pt x="8178" y="4970"/>
                  </a:cubicBezTo>
                  <a:cubicBezTo>
                    <a:pt x="8251" y="4795"/>
                    <a:pt x="8346" y="4658"/>
                    <a:pt x="8497" y="4658"/>
                  </a:cubicBezTo>
                  <a:cubicBezTo>
                    <a:pt x="8500" y="4658"/>
                    <a:pt x="8503" y="4658"/>
                    <a:pt x="8505" y="4658"/>
                  </a:cubicBezTo>
                  <a:cubicBezTo>
                    <a:pt x="8602" y="4551"/>
                    <a:pt x="8688" y="4437"/>
                    <a:pt x="8753" y="4320"/>
                  </a:cubicBezTo>
                  <a:cubicBezTo>
                    <a:pt x="8812" y="4024"/>
                    <a:pt x="8924" y="3740"/>
                    <a:pt x="9006" y="3455"/>
                  </a:cubicBezTo>
                  <a:cubicBezTo>
                    <a:pt x="9026" y="3180"/>
                    <a:pt x="9000" y="2895"/>
                    <a:pt x="8919" y="2590"/>
                  </a:cubicBezTo>
                  <a:cubicBezTo>
                    <a:pt x="8882" y="2439"/>
                    <a:pt x="8850" y="2289"/>
                    <a:pt x="8828" y="2139"/>
                  </a:cubicBezTo>
                  <a:cubicBezTo>
                    <a:pt x="8602" y="1881"/>
                    <a:pt x="8672" y="1548"/>
                    <a:pt x="8704" y="1226"/>
                  </a:cubicBezTo>
                  <a:cubicBezTo>
                    <a:pt x="8678" y="1010"/>
                    <a:pt x="8634" y="790"/>
                    <a:pt x="8575" y="581"/>
                  </a:cubicBezTo>
                  <a:cubicBezTo>
                    <a:pt x="8565" y="559"/>
                    <a:pt x="8554" y="542"/>
                    <a:pt x="8532" y="522"/>
                  </a:cubicBezTo>
                  <a:cubicBezTo>
                    <a:pt x="8500" y="532"/>
                    <a:pt x="8463" y="537"/>
                    <a:pt x="8431" y="549"/>
                  </a:cubicBezTo>
                  <a:cubicBezTo>
                    <a:pt x="8431" y="371"/>
                    <a:pt x="8425" y="188"/>
                    <a:pt x="8425"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74" name="Google Shape;1172;p29">
              <a:extLst>
                <a:ext uri="{FF2B5EF4-FFF2-40B4-BE49-F238E27FC236}">
                  <a16:creationId xmlns:a16="http://schemas.microsoft.com/office/drawing/2014/main" id="{8E688998-9BD7-092E-5033-FD0427BF39EB}"/>
                </a:ext>
              </a:extLst>
            </p:cNvPr>
            <p:cNvSpPr/>
            <p:nvPr/>
          </p:nvSpPr>
          <p:spPr>
            <a:xfrm>
              <a:off x="6787350" y="1213100"/>
              <a:ext cx="247425" cy="482050"/>
            </a:xfrm>
            <a:custGeom>
              <a:avLst/>
              <a:gdLst/>
              <a:ahLst/>
              <a:cxnLst/>
              <a:rect l="l" t="t" r="r" b="b"/>
              <a:pathLst>
                <a:path w="9897" h="19282" extrusionOk="0">
                  <a:moveTo>
                    <a:pt x="2811" y="1"/>
                  </a:moveTo>
                  <a:cubicBezTo>
                    <a:pt x="2698" y="1"/>
                    <a:pt x="2574" y="16"/>
                    <a:pt x="2450" y="48"/>
                  </a:cubicBezTo>
                  <a:cubicBezTo>
                    <a:pt x="1795" y="210"/>
                    <a:pt x="1483" y="698"/>
                    <a:pt x="1527" y="1516"/>
                  </a:cubicBezTo>
                  <a:cubicBezTo>
                    <a:pt x="1543" y="1848"/>
                    <a:pt x="1554" y="2186"/>
                    <a:pt x="1559" y="2515"/>
                  </a:cubicBezTo>
                  <a:cubicBezTo>
                    <a:pt x="1559" y="2702"/>
                    <a:pt x="1565" y="2885"/>
                    <a:pt x="1565" y="3063"/>
                  </a:cubicBezTo>
                  <a:cubicBezTo>
                    <a:pt x="1597" y="3051"/>
                    <a:pt x="1634" y="3046"/>
                    <a:pt x="1666" y="3036"/>
                  </a:cubicBezTo>
                  <a:cubicBezTo>
                    <a:pt x="1688" y="3056"/>
                    <a:pt x="1699" y="3073"/>
                    <a:pt x="1709" y="3095"/>
                  </a:cubicBezTo>
                  <a:cubicBezTo>
                    <a:pt x="1768" y="3304"/>
                    <a:pt x="1812" y="3524"/>
                    <a:pt x="1838" y="3740"/>
                  </a:cubicBezTo>
                  <a:cubicBezTo>
                    <a:pt x="1806" y="4062"/>
                    <a:pt x="1736" y="4395"/>
                    <a:pt x="1962" y="4653"/>
                  </a:cubicBezTo>
                  <a:cubicBezTo>
                    <a:pt x="1984" y="4803"/>
                    <a:pt x="2016" y="4953"/>
                    <a:pt x="2053" y="5104"/>
                  </a:cubicBezTo>
                  <a:cubicBezTo>
                    <a:pt x="2134" y="5409"/>
                    <a:pt x="2160" y="5694"/>
                    <a:pt x="2140" y="5969"/>
                  </a:cubicBezTo>
                  <a:cubicBezTo>
                    <a:pt x="2058" y="6254"/>
                    <a:pt x="1946" y="6538"/>
                    <a:pt x="1887" y="6834"/>
                  </a:cubicBezTo>
                  <a:cubicBezTo>
                    <a:pt x="1822" y="6951"/>
                    <a:pt x="1736" y="7065"/>
                    <a:pt x="1639" y="7172"/>
                  </a:cubicBezTo>
                  <a:cubicBezTo>
                    <a:pt x="1637" y="7172"/>
                    <a:pt x="1634" y="7172"/>
                    <a:pt x="1631" y="7172"/>
                  </a:cubicBezTo>
                  <a:cubicBezTo>
                    <a:pt x="1480" y="7172"/>
                    <a:pt x="1385" y="7309"/>
                    <a:pt x="1312" y="7484"/>
                  </a:cubicBezTo>
                  <a:cubicBezTo>
                    <a:pt x="1307" y="7489"/>
                    <a:pt x="1302" y="7494"/>
                    <a:pt x="1296" y="7499"/>
                  </a:cubicBezTo>
                  <a:cubicBezTo>
                    <a:pt x="1290" y="7499"/>
                    <a:pt x="1290" y="7494"/>
                    <a:pt x="1290" y="7494"/>
                  </a:cubicBezTo>
                  <a:cubicBezTo>
                    <a:pt x="1151" y="7499"/>
                    <a:pt x="1071" y="7564"/>
                    <a:pt x="1054" y="7693"/>
                  </a:cubicBezTo>
                  <a:cubicBezTo>
                    <a:pt x="1022" y="7720"/>
                    <a:pt x="990" y="7742"/>
                    <a:pt x="962" y="7769"/>
                  </a:cubicBezTo>
                  <a:cubicBezTo>
                    <a:pt x="855" y="7779"/>
                    <a:pt x="796" y="7833"/>
                    <a:pt x="786" y="7940"/>
                  </a:cubicBezTo>
                  <a:cubicBezTo>
                    <a:pt x="657" y="8074"/>
                    <a:pt x="549" y="8236"/>
                    <a:pt x="479" y="8439"/>
                  </a:cubicBezTo>
                  <a:cubicBezTo>
                    <a:pt x="308" y="8950"/>
                    <a:pt x="667" y="9589"/>
                    <a:pt x="716" y="10083"/>
                  </a:cubicBezTo>
                  <a:cubicBezTo>
                    <a:pt x="721" y="10142"/>
                    <a:pt x="727" y="10202"/>
                    <a:pt x="727" y="10261"/>
                  </a:cubicBezTo>
                  <a:cubicBezTo>
                    <a:pt x="694" y="10519"/>
                    <a:pt x="640" y="10777"/>
                    <a:pt x="560" y="11040"/>
                  </a:cubicBezTo>
                  <a:cubicBezTo>
                    <a:pt x="426" y="11496"/>
                    <a:pt x="340" y="11959"/>
                    <a:pt x="286" y="12421"/>
                  </a:cubicBezTo>
                  <a:cubicBezTo>
                    <a:pt x="124" y="13006"/>
                    <a:pt x="1" y="13597"/>
                    <a:pt x="119" y="14199"/>
                  </a:cubicBezTo>
                  <a:cubicBezTo>
                    <a:pt x="286" y="15021"/>
                    <a:pt x="377" y="15816"/>
                    <a:pt x="447" y="16648"/>
                  </a:cubicBezTo>
                  <a:cubicBezTo>
                    <a:pt x="491" y="17154"/>
                    <a:pt x="496" y="17648"/>
                    <a:pt x="549" y="18141"/>
                  </a:cubicBezTo>
                  <a:cubicBezTo>
                    <a:pt x="576" y="18411"/>
                    <a:pt x="620" y="18664"/>
                    <a:pt x="549" y="18857"/>
                  </a:cubicBezTo>
                  <a:cubicBezTo>
                    <a:pt x="652" y="18991"/>
                    <a:pt x="781" y="19115"/>
                    <a:pt x="962" y="19205"/>
                  </a:cubicBezTo>
                  <a:cubicBezTo>
                    <a:pt x="1017" y="19237"/>
                    <a:pt x="1081" y="19259"/>
                    <a:pt x="1146" y="19281"/>
                  </a:cubicBezTo>
                  <a:cubicBezTo>
                    <a:pt x="1280" y="19259"/>
                    <a:pt x="1409" y="19237"/>
                    <a:pt x="1538" y="19205"/>
                  </a:cubicBezTo>
                  <a:cubicBezTo>
                    <a:pt x="2628" y="18954"/>
                    <a:pt x="3719" y="18696"/>
                    <a:pt x="4803" y="18438"/>
                  </a:cubicBezTo>
                  <a:cubicBezTo>
                    <a:pt x="6367" y="18141"/>
                    <a:pt x="7952" y="18121"/>
                    <a:pt x="9526" y="17992"/>
                  </a:cubicBezTo>
                  <a:lnTo>
                    <a:pt x="9526" y="17992"/>
                  </a:lnTo>
                  <a:cubicBezTo>
                    <a:pt x="9494" y="18072"/>
                    <a:pt x="9445" y="18158"/>
                    <a:pt x="9387" y="18245"/>
                  </a:cubicBezTo>
                  <a:lnTo>
                    <a:pt x="9397" y="18245"/>
                  </a:lnTo>
                  <a:cubicBezTo>
                    <a:pt x="9613" y="18228"/>
                    <a:pt x="9794" y="18089"/>
                    <a:pt x="9864" y="17884"/>
                  </a:cubicBezTo>
                  <a:cubicBezTo>
                    <a:pt x="9896" y="17787"/>
                    <a:pt x="9896" y="17685"/>
                    <a:pt x="9876" y="17583"/>
                  </a:cubicBezTo>
                  <a:cubicBezTo>
                    <a:pt x="9849" y="17481"/>
                    <a:pt x="9794" y="17390"/>
                    <a:pt x="9714" y="17315"/>
                  </a:cubicBezTo>
                  <a:cubicBezTo>
                    <a:pt x="9677" y="17283"/>
                    <a:pt x="9613" y="17137"/>
                    <a:pt x="9574" y="17046"/>
                  </a:cubicBezTo>
                  <a:cubicBezTo>
                    <a:pt x="9489" y="16859"/>
                    <a:pt x="9392" y="16670"/>
                    <a:pt x="9301" y="16487"/>
                  </a:cubicBezTo>
                  <a:lnTo>
                    <a:pt x="9155" y="16197"/>
                  </a:lnTo>
                  <a:cubicBezTo>
                    <a:pt x="9070" y="16304"/>
                    <a:pt x="8951" y="16375"/>
                    <a:pt x="8812" y="16396"/>
                  </a:cubicBezTo>
                  <a:cubicBezTo>
                    <a:pt x="8790" y="16396"/>
                    <a:pt x="8763" y="16401"/>
                    <a:pt x="8742" y="16401"/>
                  </a:cubicBezTo>
                  <a:cubicBezTo>
                    <a:pt x="8710" y="16401"/>
                    <a:pt x="8683" y="16391"/>
                    <a:pt x="8651" y="16385"/>
                  </a:cubicBezTo>
                  <a:cubicBezTo>
                    <a:pt x="8527" y="16128"/>
                    <a:pt x="8420" y="15870"/>
                    <a:pt x="8344" y="15585"/>
                  </a:cubicBezTo>
                  <a:cubicBezTo>
                    <a:pt x="7936" y="14032"/>
                    <a:pt x="7592" y="12463"/>
                    <a:pt x="6878" y="11018"/>
                  </a:cubicBezTo>
                  <a:cubicBezTo>
                    <a:pt x="6856" y="10970"/>
                    <a:pt x="6861" y="10928"/>
                    <a:pt x="6878" y="10889"/>
                  </a:cubicBezTo>
                  <a:cubicBezTo>
                    <a:pt x="5745" y="7677"/>
                    <a:pt x="4600" y="4464"/>
                    <a:pt x="3504" y="1236"/>
                  </a:cubicBezTo>
                  <a:cubicBezTo>
                    <a:pt x="3392" y="908"/>
                    <a:pt x="3263" y="678"/>
                    <a:pt x="3047" y="581"/>
                  </a:cubicBezTo>
                  <a:cubicBezTo>
                    <a:pt x="2998" y="408"/>
                    <a:pt x="2966" y="210"/>
                    <a:pt x="3015" y="16"/>
                  </a:cubicBezTo>
                  <a:cubicBezTo>
                    <a:pt x="2951" y="6"/>
                    <a:pt x="2886" y="1"/>
                    <a:pt x="2811"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0" tIns="91425" rIns="0" bIns="91425" anchor="b"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NH</a:t>
              </a:r>
              <a:endParaRPr kumimoji="0" sz="5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175" name="Google Shape;1173;p29">
              <a:extLst>
                <a:ext uri="{FF2B5EF4-FFF2-40B4-BE49-F238E27FC236}">
                  <a16:creationId xmlns:a16="http://schemas.microsoft.com/office/drawing/2014/main" id="{1DA328E1-2E04-525A-89FC-61F174C6FF52}"/>
                </a:ext>
              </a:extLst>
            </p:cNvPr>
            <p:cNvSpPr/>
            <p:nvPr/>
          </p:nvSpPr>
          <p:spPr>
            <a:xfrm>
              <a:off x="6861500" y="787075"/>
              <a:ext cx="521375" cy="836050"/>
            </a:xfrm>
            <a:custGeom>
              <a:avLst/>
              <a:gdLst/>
              <a:ahLst/>
              <a:cxnLst/>
              <a:rect l="l" t="t" r="r" b="b"/>
              <a:pathLst>
                <a:path w="20855" h="33442" extrusionOk="0">
                  <a:moveTo>
                    <a:pt x="5464" y="1"/>
                  </a:moveTo>
                  <a:cubicBezTo>
                    <a:pt x="5164" y="1"/>
                    <a:pt x="4867" y="135"/>
                    <a:pt x="4674" y="242"/>
                  </a:cubicBezTo>
                  <a:cubicBezTo>
                    <a:pt x="4202" y="516"/>
                    <a:pt x="4073" y="973"/>
                    <a:pt x="3976" y="1312"/>
                  </a:cubicBezTo>
                  <a:cubicBezTo>
                    <a:pt x="3965" y="1360"/>
                    <a:pt x="3949" y="1402"/>
                    <a:pt x="3933" y="1451"/>
                  </a:cubicBezTo>
                  <a:cubicBezTo>
                    <a:pt x="3590" y="2569"/>
                    <a:pt x="3230" y="3702"/>
                    <a:pt x="2875" y="4798"/>
                  </a:cubicBezTo>
                  <a:lnTo>
                    <a:pt x="2585" y="5706"/>
                  </a:lnTo>
                  <a:cubicBezTo>
                    <a:pt x="2332" y="6480"/>
                    <a:pt x="2020" y="7447"/>
                    <a:pt x="2913" y="8376"/>
                  </a:cubicBezTo>
                  <a:cubicBezTo>
                    <a:pt x="2940" y="8403"/>
                    <a:pt x="2933" y="8461"/>
                    <a:pt x="2933" y="8483"/>
                  </a:cubicBezTo>
                  <a:cubicBezTo>
                    <a:pt x="2928" y="8564"/>
                    <a:pt x="2886" y="8644"/>
                    <a:pt x="2848" y="8671"/>
                  </a:cubicBezTo>
                  <a:cubicBezTo>
                    <a:pt x="1934" y="9348"/>
                    <a:pt x="2149" y="10197"/>
                    <a:pt x="2295" y="10761"/>
                  </a:cubicBezTo>
                  <a:cubicBezTo>
                    <a:pt x="2316" y="10841"/>
                    <a:pt x="2338" y="10928"/>
                    <a:pt x="2353" y="11008"/>
                  </a:cubicBezTo>
                  <a:cubicBezTo>
                    <a:pt x="2440" y="11406"/>
                    <a:pt x="2434" y="11820"/>
                    <a:pt x="2424" y="12260"/>
                  </a:cubicBezTo>
                  <a:cubicBezTo>
                    <a:pt x="2424" y="12490"/>
                    <a:pt x="2418" y="12733"/>
                    <a:pt x="2429" y="12974"/>
                  </a:cubicBezTo>
                  <a:cubicBezTo>
                    <a:pt x="2440" y="13243"/>
                    <a:pt x="2300" y="13469"/>
                    <a:pt x="2069" y="13807"/>
                  </a:cubicBezTo>
                  <a:cubicBezTo>
                    <a:pt x="1768" y="14248"/>
                    <a:pt x="1360" y="14860"/>
                    <a:pt x="1671" y="15698"/>
                  </a:cubicBezTo>
                  <a:cubicBezTo>
                    <a:pt x="1736" y="15881"/>
                    <a:pt x="1730" y="16031"/>
                    <a:pt x="1644" y="16160"/>
                  </a:cubicBezTo>
                  <a:cubicBezTo>
                    <a:pt x="1554" y="16294"/>
                    <a:pt x="1376" y="16397"/>
                    <a:pt x="1215" y="16402"/>
                  </a:cubicBezTo>
                  <a:cubicBezTo>
                    <a:pt x="845" y="16412"/>
                    <a:pt x="393" y="16467"/>
                    <a:pt x="156" y="16821"/>
                  </a:cubicBezTo>
                  <a:cubicBezTo>
                    <a:pt x="103" y="16901"/>
                    <a:pt x="71" y="16982"/>
                    <a:pt x="49" y="17057"/>
                  </a:cubicBezTo>
                  <a:cubicBezTo>
                    <a:pt x="0" y="17251"/>
                    <a:pt x="32" y="17449"/>
                    <a:pt x="81" y="17622"/>
                  </a:cubicBezTo>
                  <a:cubicBezTo>
                    <a:pt x="297" y="17719"/>
                    <a:pt x="426" y="17949"/>
                    <a:pt x="538" y="18277"/>
                  </a:cubicBezTo>
                  <a:cubicBezTo>
                    <a:pt x="1634" y="21505"/>
                    <a:pt x="2779" y="24718"/>
                    <a:pt x="3912" y="27930"/>
                  </a:cubicBezTo>
                  <a:cubicBezTo>
                    <a:pt x="3895" y="27969"/>
                    <a:pt x="3890" y="28011"/>
                    <a:pt x="3912" y="28059"/>
                  </a:cubicBezTo>
                  <a:cubicBezTo>
                    <a:pt x="4626" y="29504"/>
                    <a:pt x="4970" y="31073"/>
                    <a:pt x="5378" y="32626"/>
                  </a:cubicBezTo>
                  <a:cubicBezTo>
                    <a:pt x="5454" y="32911"/>
                    <a:pt x="5561" y="33169"/>
                    <a:pt x="5685" y="33426"/>
                  </a:cubicBezTo>
                  <a:cubicBezTo>
                    <a:pt x="5717" y="33432"/>
                    <a:pt x="5744" y="33442"/>
                    <a:pt x="5776" y="33442"/>
                  </a:cubicBezTo>
                  <a:cubicBezTo>
                    <a:pt x="5797" y="33442"/>
                    <a:pt x="5824" y="33437"/>
                    <a:pt x="5846" y="33437"/>
                  </a:cubicBezTo>
                  <a:cubicBezTo>
                    <a:pt x="5985" y="33416"/>
                    <a:pt x="6104" y="33345"/>
                    <a:pt x="6189" y="33238"/>
                  </a:cubicBezTo>
                  <a:cubicBezTo>
                    <a:pt x="6253" y="33158"/>
                    <a:pt x="6302" y="33055"/>
                    <a:pt x="6307" y="32943"/>
                  </a:cubicBezTo>
                  <a:cubicBezTo>
                    <a:pt x="6313" y="32878"/>
                    <a:pt x="6318" y="32814"/>
                    <a:pt x="6324" y="32739"/>
                  </a:cubicBezTo>
                  <a:cubicBezTo>
                    <a:pt x="6335" y="32653"/>
                    <a:pt x="6340" y="32561"/>
                    <a:pt x="6350" y="32459"/>
                  </a:cubicBezTo>
                  <a:cubicBezTo>
                    <a:pt x="6421" y="31503"/>
                    <a:pt x="6764" y="30632"/>
                    <a:pt x="7130" y="29709"/>
                  </a:cubicBezTo>
                  <a:cubicBezTo>
                    <a:pt x="7312" y="29252"/>
                    <a:pt x="7500" y="28775"/>
                    <a:pt x="7651" y="28285"/>
                  </a:cubicBezTo>
                  <a:cubicBezTo>
                    <a:pt x="7666" y="28247"/>
                    <a:pt x="7699" y="28183"/>
                    <a:pt x="7736" y="28118"/>
                  </a:cubicBezTo>
                  <a:cubicBezTo>
                    <a:pt x="7860" y="27893"/>
                    <a:pt x="8085" y="27468"/>
                    <a:pt x="7833" y="27002"/>
                  </a:cubicBezTo>
                  <a:cubicBezTo>
                    <a:pt x="7775" y="26893"/>
                    <a:pt x="7710" y="26737"/>
                    <a:pt x="7753" y="26630"/>
                  </a:cubicBezTo>
                  <a:cubicBezTo>
                    <a:pt x="7795" y="26518"/>
                    <a:pt x="7968" y="26394"/>
                    <a:pt x="8199" y="26313"/>
                  </a:cubicBezTo>
                  <a:cubicBezTo>
                    <a:pt x="9161" y="25964"/>
                    <a:pt x="9863" y="25577"/>
                    <a:pt x="10342" y="25126"/>
                  </a:cubicBezTo>
                  <a:cubicBezTo>
                    <a:pt x="10508" y="24971"/>
                    <a:pt x="10734" y="24825"/>
                    <a:pt x="10976" y="24674"/>
                  </a:cubicBezTo>
                  <a:cubicBezTo>
                    <a:pt x="11636" y="24262"/>
                    <a:pt x="12539" y="23697"/>
                    <a:pt x="12507" y="22386"/>
                  </a:cubicBezTo>
                  <a:cubicBezTo>
                    <a:pt x="12501" y="22021"/>
                    <a:pt x="12561" y="21409"/>
                    <a:pt x="13055" y="21354"/>
                  </a:cubicBezTo>
                  <a:cubicBezTo>
                    <a:pt x="13964" y="21253"/>
                    <a:pt x="14490" y="20855"/>
                    <a:pt x="14769" y="20060"/>
                  </a:cubicBezTo>
                  <a:cubicBezTo>
                    <a:pt x="14871" y="19749"/>
                    <a:pt x="15214" y="19524"/>
                    <a:pt x="15338" y="19507"/>
                  </a:cubicBezTo>
                  <a:cubicBezTo>
                    <a:pt x="15526" y="19549"/>
                    <a:pt x="15709" y="19571"/>
                    <a:pt x="15886" y="19571"/>
                  </a:cubicBezTo>
                  <a:cubicBezTo>
                    <a:pt x="16902" y="19571"/>
                    <a:pt x="17460" y="18894"/>
                    <a:pt x="17906" y="18352"/>
                  </a:cubicBezTo>
                  <a:cubicBezTo>
                    <a:pt x="18137" y="18073"/>
                    <a:pt x="18352" y="17804"/>
                    <a:pt x="18599" y="17664"/>
                  </a:cubicBezTo>
                  <a:cubicBezTo>
                    <a:pt x="18916" y="17481"/>
                    <a:pt x="19109" y="17171"/>
                    <a:pt x="19276" y="16896"/>
                  </a:cubicBezTo>
                  <a:cubicBezTo>
                    <a:pt x="19346" y="16784"/>
                    <a:pt x="19448" y="16628"/>
                    <a:pt x="19508" y="16568"/>
                  </a:cubicBezTo>
                  <a:cubicBezTo>
                    <a:pt x="20088" y="16445"/>
                    <a:pt x="20705" y="16262"/>
                    <a:pt x="20785" y="15720"/>
                  </a:cubicBezTo>
                  <a:cubicBezTo>
                    <a:pt x="20855" y="15230"/>
                    <a:pt x="20448" y="14935"/>
                    <a:pt x="19947" y="14656"/>
                  </a:cubicBezTo>
                  <a:cubicBezTo>
                    <a:pt x="19952" y="14645"/>
                    <a:pt x="19959" y="14634"/>
                    <a:pt x="19964" y="14624"/>
                  </a:cubicBezTo>
                  <a:cubicBezTo>
                    <a:pt x="20222" y="14054"/>
                    <a:pt x="20205" y="13484"/>
                    <a:pt x="19932" y="13055"/>
                  </a:cubicBezTo>
                  <a:cubicBezTo>
                    <a:pt x="19701" y="12701"/>
                    <a:pt x="19308" y="12497"/>
                    <a:pt x="18857" y="12497"/>
                  </a:cubicBezTo>
                  <a:cubicBezTo>
                    <a:pt x="18685" y="12497"/>
                    <a:pt x="18502" y="12523"/>
                    <a:pt x="18315" y="12587"/>
                  </a:cubicBezTo>
                  <a:cubicBezTo>
                    <a:pt x="18115" y="12652"/>
                    <a:pt x="17986" y="12663"/>
                    <a:pt x="17911" y="12663"/>
                  </a:cubicBezTo>
                  <a:cubicBezTo>
                    <a:pt x="17772" y="12663"/>
                    <a:pt x="17654" y="12663"/>
                    <a:pt x="17552" y="11959"/>
                  </a:cubicBezTo>
                  <a:cubicBezTo>
                    <a:pt x="17396" y="10874"/>
                    <a:pt x="16703" y="10132"/>
                    <a:pt x="15645" y="9934"/>
                  </a:cubicBezTo>
                  <a:cubicBezTo>
                    <a:pt x="15166" y="9842"/>
                    <a:pt x="15080" y="9601"/>
                    <a:pt x="14909" y="9021"/>
                  </a:cubicBezTo>
                  <a:lnTo>
                    <a:pt x="14882" y="8912"/>
                  </a:lnTo>
                  <a:cubicBezTo>
                    <a:pt x="14537" y="7737"/>
                    <a:pt x="14205" y="6539"/>
                    <a:pt x="13887" y="5378"/>
                  </a:cubicBezTo>
                  <a:cubicBezTo>
                    <a:pt x="13662" y="4556"/>
                    <a:pt x="13436" y="3729"/>
                    <a:pt x="13205" y="2907"/>
                  </a:cubicBezTo>
                  <a:cubicBezTo>
                    <a:pt x="12685" y="1064"/>
                    <a:pt x="11514" y="11"/>
                    <a:pt x="10004" y="11"/>
                  </a:cubicBezTo>
                  <a:cubicBezTo>
                    <a:pt x="9268" y="11"/>
                    <a:pt x="8494" y="264"/>
                    <a:pt x="7710" y="752"/>
                  </a:cubicBezTo>
                  <a:cubicBezTo>
                    <a:pt x="7614" y="817"/>
                    <a:pt x="7517" y="876"/>
                    <a:pt x="7420" y="941"/>
                  </a:cubicBezTo>
                  <a:cubicBezTo>
                    <a:pt x="7188" y="1091"/>
                    <a:pt x="6974" y="1236"/>
                    <a:pt x="6754" y="1327"/>
                  </a:cubicBezTo>
                  <a:cubicBezTo>
                    <a:pt x="6560" y="1414"/>
                    <a:pt x="6421" y="1553"/>
                    <a:pt x="6307" y="1666"/>
                  </a:cubicBezTo>
                  <a:cubicBezTo>
                    <a:pt x="6302" y="1666"/>
                    <a:pt x="6297" y="1672"/>
                    <a:pt x="6292" y="1677"/>
                  </a:cubicBezTo>
                  <a:cubicBezTo>
                    <a:pt x="6055" y="1461"/>
                    <a:pt x="6104" y="1349"/>
                    <a:pt x="6136" y="1268"/>
                  </a:cubicBezTo>
                  <a:lnTo>
                    <a:pt x="6163" y="1209"/>
                  </a:lnTo>
                  <a:cubicBezTo>
                    <a:pt x="6238" y="1042"/>
                    <a:pt x="6377" y="732"/>
                    <a:pt x="6216" y="409"/>
                  </a:cubicBezTo>
                  <a:cubicBezTo>
                    <a:pt x="6141" y="269"/>
                    <a:pt x="5990" y="87"/>
                    <a:pt x="5668" y="23"/>
                  </a:cubicBezTo>
                  <a:cubicBezTo>
                    <a:pt x="5604" y="6"/>
                    <a:pt x="5534" y="1"/>
                    <a:pt x="5464"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ME</a:t>
              </a:r>
              <a:endParaRPr kumimoji="0"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176" name="Google Shape;1174;p29">
              <a:extLst>
                <a:ext uri="{FF2B5EF4-FFF2-40B4-BE49-F238E27FC236}">
                  <a16:creationId xmlns:a16="http://schemas.microsoft.com/office/drawing/2014/main" id="{26FD86BC-ADBD-CBED-2BB4-EB0AA9952758}"/>
                </a:ext>
              </a:extLst>
            </p:cNvPr>
            <p:cNvSpPr/>
            <p:nvPr/>
          </p:nvSpPr>
          <p:spPr>
            <a:xfrm>
              <a:off x="4255075" y="1300525"/>
              <a:ext cx="732750" cy="777250"/>
            </a:xfrm>
            <a:custGeom>
              <a:avLst/>
              <a:gdLst/>
              <a:ahLst/>
              <a:cxnLst/>
              <a:rect l="l" t="t" r="r" b="b"/>
              <a:pathLst>
                <a:path w="29310" h="31090" extrusionOk="0">
                  <a:moveTo>
                    <a:pt x="9143" y="0"/>
                  </a:moveTo>
                  <a:cubicBezTo>
                    <a:pt x="8891" y="0"/>
                    <a:pt x="8675" y="87"/>
                    <a:pt x="8509" y="161"/>
                  </a:cubicBezTo>
                  <a:cubicBezTo>
                    <a:pt x="8117" y="350"/>
                    <a:pt x="7725" y="526"/>
                    <a:pt x="7327" y="709"/>
                  </a:cubicBezTo>
                  <a:cubicBezTo>
                    <a:pt x="7080" y="823"/>
                    <a:pt x="6833" y="935"/>
                    <a:pt x="6580" y="1049"/>
                  </a:cubicBezTo>
                  <a:cubicBezTo>
                    <a:pt x="6344" y="1156"/>
                    <a:pt x="6124" y="1290"/>
                    <a:pt x="5908" y="1419"/>
                  </a:cubicBezTo>
                  <a:cubicBezTo>
                    <a:pt x="5489" y="1671"/>
                    <a:pt x="5135" y="1887"/>
                    <a:pt x="4748" y="1887"/>
                  </a:cubicBezTo>
                  <a:cubicBezTo>
                    <a:pt x="4663" y="1887"/>
                    <a:pt x="4577" y="1875"/>
                    <a:pt x="4490" y="1854"/>
                  </a:cubicBezTo>
                  <a:cubicBezTo>
                    <a:pt x="4393" y="1832"/>
                    <a:pt x="4314" y="1816"/>
                    <a:pt x="4227" y="1805"/>
                  </a:cubicBezTo>
                  <a:cubicBezTo>
                    <a:pt x="4083" y="1778"/>
                    <a:pt x="3947" y="1763"/>
                    <a:pt x="3825" y="1763"/>
                  </a:cubicBezTo>
                  <a:cubicBezTo>
                    <a:pt x="3669" y="1763"/>
                    <a:pt x="3528" y="1783"/>
                    <a:pt x="3411" y="1816"/>
                  </a:cubicBezTo>
                  <a:cubicBezTo>
                    <a:pt x="3367" y="1848"/>
                    <a:pt x="3330" y="1887"/>
                    <a:pt x="3287" y="1919"/>
                  </a:cubicBezTo>
                  <a:cubicBezTo>
                    <a:pt x="2836" y="2306"/>
                    <a:pt x="2717" y="2762"/>
                    <a:pt x="2734" y="3331"/>
                  </a:cubicBezTo>
                  <a:cubicBezTo>
                    <a:pt x="2766" y="4438"/>
                    <a:pt x="2739" y="5539"/>
                    <a:pt x="2734" y="6645"/>
                  </a:cubicBezTo>
                  <a:cubicBezTo>
                    <a:pt x="2561" y="6823"/>
                    <a:pt x="2385" y="6995"/>
                    <a:pt x="2207" y="7173"/>
                  </a:cubicBezTo>
                  <a:cubicBezTo>
                    <a:pt x="1993" y="7188"/>
                    <a:pt x="1762" y="7188"/>
                    <a:pt x="1665" y="7441"/>
                  </a:cubicBezTo>
                  <a:cubicBezTo>
                    <a:pt x="1450" y="7456"/>
                    <a:pt x="1224" y="7456"/>
                    <a:pt x="1128" y="7704"/>
                  </a:cubicBezTo>
                  <a:cubicBezTo>
                    <a:pt x="910" y="7721"/>
                    <a:pt x="687" y="7731"/>
                    <a:pt x="593" y="7985"/>
                  </a:cubicBezTo>
                  <a:lnTo>
                    <a:pt x="593" y="7985"/>
                  </a:lnTo>
                  <a:cubicBezTo>
                    <a:pt x="85" y="8485"/>
                    <a:pt x="399" y="9202"/>
                    <a:pt x="139" y="9794"/>
                  </a:cubicBezTo>
                  <a:cubicBezTo>
                    <a:pt x="0" y="10113"/>
                    <a:pt x="322" y="10417"/>
                    <a:pt x="754" y="10417"/>
                  </a:cubicBezTo>
                  <a:cubicBezTo>
                    <a:pt x="789" y="10417"/>
                    <a:pt x="824" y="10416"/>
                    <a:pt x="859" y="10412"/>
                  </a:cubicBezTo>
                  <a:cubicBezTo>
                    <a:pt x="859" y="10954"/>
                    <a:pt x="939" y="11486"/>
                    <a:pt x="934" y="12034"/>
                  </a:cubicBezTo>
                  <a:cubicBezTo>
                    <a:pt x="917" y="13447"/>
                    <a:pt x="569" y="14897"/>
                    <a:pt x="1143" y="16288"/>
                  </a:cubicBezTo>
                  <a:lnTo>
                    <a:pt x="1122" y="16268"/>
                  </a:lnTo>
                  <a:lnTo>
                    <a:pt x="1122" y="16268"/>
                  </a:lnTo>
                  <a:cubicBezTo>
                    <a:pt x="1209" y="16450"/>
                    <a:pt x="1312" y="16600"/>
                    <a:pt x="1491" y="16600"/>
                  </a:cubicBezTo>
                  <a:cubicBezTo>
                    <a:pt x="1544" y="16600"/>
                    <a:pt x="1603" y="16587"/>
                    <a:pt x="1670" y="16558"/>
                  </a:cubicBezTo>
                  <a:cubicBezTo>
                    <a:pt x="2020" y="17181"/>
                    <a:pt x="2965" y="16918"/>
                    <a:pt x="3270" y="17605"/>
                  </a:cubicBezTo>
                  <a:cubicBezTo>
                    <a:pt x="4217" y="18212"/>
                    <a:pt x="5420" y="18512"/>
                    <a:pt x="5710" y="19861"/>
                  </a:cubicBezTo>
                  <a:cubicBezTo>
                    <a:pt x="5752" y="20049"/>
                    <a:pt x="6210" y="20146"/>
                    <a:pt x="6478" y="20285"/>
                  </a:cubicBezTo>
                  <a:cubicBezTo>
                    <a:pt x="6761" y="20525"/>
                    <a:pt x="7004" y="20833"/>
                    <a:pt x="7407" y="20833"/>
                  </a:cubicBezTo>
                  <a:cubicBezTo>
                    <a:pt x="7448" y="20833"/>
                    <a:pt x="7492" y="20830"/>
                    <a:pt x="7537" y="20823"/>
                  </a:cubicBezTo>
                  <a:cubicBezTo>
                    <a:pt x="7626" y="21185"/>
                    <a:pt x="7830" y="21378"/>
                    <a:pt x="8163" y="21378"/>
                  </a:cubicBezTo>
                  <a:cubicBezTo>
                    <a:pt x="8211" y="21378"/>
                    <a:pt x="8262" y="21374"/>
                    <a:pt x="8316" y="21366"/>
                  </a:cubicBezTo>
                  <a:lnTo>
                    <a:pt x="8316" y="21366"/>
                  </a:lnTo>
                  <a:cubicBezTo>
                    <a:pt x="8154" y="21666"/>
                    <a:pt x="8423" y="21752"/>
                    <a:pt x="8601" y="21881"/>
                  </a:cubicBezTo>
                  <a:cubicBezTo>
                    <a:pt x="8611" y="22316"/>
                    <a:pt x="8568" y="22767"/>
                    <a:pt x="8648" y="23186"/>
                  </a:cubicBezTo>
                  <a:cubicBezTo>
                    <a:pt x="8713" y="23525"/>
                    <a:pt x="8702" y="23734"/>
                    <a:pt x="8568" y="23863"/>
                  </a:cubicBezTo>
                  <a:cubicBezTo>
                    <a:pt x="8589" y="24031"/>
                    <a:pt x="8606" y="24202"/>
                    <a:pt x="8611" y="24374"/>
                  </a:cubicBezTo>
                  <a:cubicBezTo>
                    <a:pt x="8869" y="24557"/>
                    <a:pt x="8896" y="24906"/>
                    <a:pt x="9132" y="25083"/>
                  </a:cubicBezTo>
                  <a:lnTo>
                    <a:pt x="9132" y="25078"/>
                  </a:lnTo>
                  <a:lnTo>
                    <a:pt x="9154" y="25094"/>
                  </a:lnTo>
                  <a:cubicBezTo>
                    <a:pt x="9143" y="25094"/>
                    <a:pt x="9143" y="25088"/>
                    <a:pt x="9132" y="25083"/>
                  </a:cubicBezTo>
                  <a:lnTo>
                    <a:pt x="9132" y="25083"/>
                  </a:lnTo>
                  <a:cubicBezTo>
                    <a:pt x="9229" y="25276"/>
                    <a:pt x="9372" y="25371"/>
                    <a:pt x="9563" y="25371"/>
                  </a:cubicBezTo>
                  <a:cubicBezTo>
                    <a:pt x="9595" y="25371"/>
                    <a:pt x="9629" y="25368"/>
                    <a:pt x="9664" y="25363"/>
                  </a:cubicBezTo>
                  <a:lnTo>
                    <a:pt x="9664" y="25336"/>
                  </a:lnTo>
                  <a:lnTo>
                    <a:pt x="9696" y="25363"/>
                  </a:lnTo>
                  <a:lnTo>
                    <a:pt x="9664" y="25363"/>
                  </a:lnTo>
                  <a:lnTo>
                    <a:pt x="9664" y="25883"/>
                  </a:lnTo>
                  <a:lnTo>
                    <a:pt x="9691" y="25856"/>
                  </a:lnTo>
                  <a:lnTo>
                    <a:pt x="9691" y="25856"/>
                  </a:lnTo>
                  <a:cubicBezTo>
                    <a:pt x="8584" y="26990"/>
                    <a:pt x="9342" y="29134"/>
                    <a:pt x="11013" y="29628"/>
                  </a:cubicBezTo>
                  <a:cubicBezTo>
                    <a:pt x="11006" y="29623"/>
                    <a:pt x="11001" y="29623"/>
                    <a:pt x="11001" y="29617"/>
                  </a:cubicBezTo>
                  <a:lnTo>
                    <a:pt x="11001" y="29617"/>
                  </a:lnTo>
                  <a:lnTo>
                    <a:pt x="11028" y="29633"/>
                  </a:lnTo>
                  <a:cubicBezTo>
                    <a:pt x="11018" y="29633"/>
                    <a:pt x="11018" y="29628"/>
                    <a:pt x="11013" y="29628"/>
                  </a:cubicBezTo>
                  <a:lnTo>
                    <a:pt x="11013" y="29628"/>
                  </a:lnTo>
                  <a:cubicBezTo>
                    <a:pt x="11174" y="29827"/>
                    <a:pt x="11370" y="29930"/>
                    <a:pt x="11603" y="29930"/>
                  </a:cubicBezTo>
                  <a:cubicBezTo>
                    <a:pt x="11672" y="29930"/>
                    <a:pt x="11744" y="29921"/>
                    <a:pt x="11819" y="29902"/>
                  </a:cubicBezTo>
                  <a:cubicBezTo>
                    <a:pt x="11819" y="29891"/>
                    <a:pt x="11819" y="29886"/>
                    <a:pt x="11812" y="29875"/>
                  </a:cubicBezTo>
                  <a:lnTo>
                    <a:pt x="11812" y="29875"/>
                  </a:lnTo>
                  <a:cubicBezTo>
                    <a:pt x="11816" y="29879"/>
                    <a:pt x="11819" y="29881"/>
                    <a:pt x="11822" y="29884"/>
                  </a:cubicBezTo>
                  <a:lnTo>
                    <a:pt x="11822" y="29884"/>
                  </a:lnTo>
                  <a:lnTo>
                    <a:pt x="11834" y="29902"/>
                  </a:lnTo>
                  <a:cubicBezTo>
                    <a:pt x="11834" y="29902"/>
                    <a:pt x="11833" y="29900"/>
                    <a:pt x="11831" y="29896"/>
                  </a:cubicBezTo>
                  <a:lnTo>
                    <a:pt x="11831" y="29896"/>
                  </a:lnTo>
                  <a:cubicBezTo>
                    <a:pt x="11832" y="29898"/>
                    <a:pt x="11833" y="29900"/>
                    <a:pt x="11834" y="29902"/>
                  </a:cubicBezTo>
                  <a:lnTo>
                    <a:pt x="11819" y="29902"/>
                  </a:lnTo>
                  <a:cubicBezTo>
                    <a:pt x="11834" y="30245"/>
                    <a:pt x="11915" y="30542"/>
                    <a:pt x="12065" y="30800"/>
                  </a:cubicBezTo>
                  <a:cubicBezTo>
                    <a:pt x="12345" y="30961"/>
                    <a:pt x="12657" y="31051"/>
                    <a:pt x="13016" y="31090"/>
                  </a:cubicBezTo>
                  <a:cubicBezTo>
                    <a:pt x="13123" y="30971"/>
                    <a:pt x="13301" y="30922"/>
                    <a:pt x="13548" y="30907"/>
                  </a:cubicBezTo>
                  <a:cubicBezTo>
                    <a:pt x="17626" y="30676"/>
                    <a:pt x="21703" y="30418"/>
                    <a:pt x="25781" y="30176"/>
                  </a:cubicBezTo>
                  <a:cubicBezTo>
                    <a:pt x="25858" y="30173"/>
                    <a:pt x="26186" y="30166"/>
                    <a:pt x="26478" y="30166"/>
                  </a:cubicBezTo>
                  <a:cubicBezTo>
                    <a:pt x="26694" y="30166"/>
                    <a:pt x="26889" y="30170"/>
                    <a:pt x="26946" y="30181"/>
                  </a:cubicBezTo>
                  <a:cubicBezTo>
                    <a:pt x="27043" y="30123"/>
                    <a:pt x="26758" y="27495"/>
                    <a:pt x="26634" y="27195"/>
                  </a:cubicBezTo>
                  <a:cubicBezTo>
                    <a:pt x="26597" y="27098"/>
                    <a:pt x="26560" y="27006"/>
                    <a:pt x="26527" y="26905"/>
                  </a:cubicBezTo>
                  <a:cubicBezTo>
                    <a:pt x="26485" y="26776"/>
                    <a:pt x="26436" y="26647"/>
                    <a:pt x="26388" y="26513"/>
                  </a:cubicBezTo>
                  <a:cubicBezTo>
                    <a:pt x="26049" y="25571"/>
                    <a:pt x="25673" y="24508"/>
                    <a:pt x="26049" y="23907"/>
                  </a:cubicBezTo>
                  <a:cubicBezTo>
                    <a:pt x="26683" y="22903"/>
                    <a:pt x="26592" y="21812"/>
                    <a:pt x="26517" y="20845"/>
                  </a:cubicBezTo>
                  <a:cubicBezTo>
                    <a:pt x="26425" y="19754"/>
                    <a:pt x="26361" y="18894"/>
                    <a:pt x="27129" y="18180"/>
                  </a:cubicBezTo>
                  <a:cubicBezTo>
                    <a:pt x="27258" y="18061"/>
                    <a:pt x="27316" y="17890"/>
                    <a:pt x="27296" y="17718"/>
                  </a:cubicBezTo>
                  <a:cubicBezTo>
                    <a:pt x="27177" y="16821"/>
                    <a:pt x="27494" y="15993"/>
                    <a:pt x="27822" y="15112"/>
                  </a:cubicBezTo>
                  <a:cubicBezTo>
                    <a:pt x="28075" y="14457"/>
                    <a:pt x="28327" y="13774"/>
                    <a:pt x="28412" y="13039"/>
                  </a:cubicBezTo>
                  <a:cubicBezTo>
                    <a:pt x="28445" y="12990"/>
                    <a:pt x="28477" y="12936"/>
                    <a:pt x="28509" y="12888"/>
                  </a:cubicBezTo>
                  <a:cubicBezTo>
                    <a:pt x="28870" y="12362"/>
                    <a:pt x="29310" y="11706"/>
                    <a:pt x="29181" y="10804"/>
                  </a:cubicBezTo>
                  <a:cubicBezTo>
                    <a:pt x="29160" y="10664"/>
                    <a:pt x="29084" y="10535"/>
                    <a:pt x="28972" y="10449"/>
                  </a:cubicBezTo>
                  <a:cubicBezTo>
                    <a:pt x="28875" y="10379"/>
                    <a:pt x="28767" y="10347"/>
                    <a:pt x="28655" y="10347"/>
                  </a:cubicBezTo>
                  <a:cubicBezTo>
                    <a:pt x="28623" y="10347"/>
                    <a:pt x="28595" y="10347"/>
                    <a:pt x="28568" y="10352"/>
                  </a:cubicBezTo>
                  <a:cubicBezTo>
                    <a:pt x="27349" y="10551"/>
                    <a:pt x="27323" y="11486"/>
                    <a:pt x="27311" y="11937"/>
                  </a:cubicBezTo>
                  <a:cubicBezTo>
                    <a:pt x="27306" y="12077"/>
                    <a:pt x="27301" y="12266"/>
                    <a:pt x="27264" y="12335"/>
                  </a:cubicBezTo>
                  <a:lnTo>
                    <a:pt x="24491" y="15123"/>
                  </a:lnTo>
                  <a:cubicBezTo>
                    <a:pt x="24653" y="14258"/>
                    <a:pt x="24975" y="13652"/>
                    <a:pt x="25511" y="13129"/>
                  </a:cubicBezTo>
                  <a:cubicBezTo>
                    <a:pt x="25555" y="13092"/>
                    <a:pt x="25598" y="13055"/>
                    <a:pt x="25640" y="13017"/>
                  </a:cubicBezTo>
                  <a:cubicBezTo>
                    <a:pt x="25856" y="12834"/>
                    <a:pt x="26151" y="12582"/>
                    <a:pt x="26173" y="12169"/>
                  </a:cubicBezTo>
                  <a:cubicBezTo>
                    <a:pt x="26173" y="12130"/>
                    <a:pt x="26168" y="12098"/>
                    <a:pt x="26162" y="12066"/>
                  </a:cubicBezTo>
                  <a:cubicBezTo>
                    <a:pt x="26001" y="12227"/>
                    <a:pt x="25759" y="12244"/>
                    <a:pt x="25614" y="12249"/>
                  </a:cubicBezTo>
                  <a:cubicBezTo>
                    <a:pt x="25667" y="12110"/>
                    <a:pt x="25635" y="11943"/>
                    <a:pt x="25421" y="11728"/>
                  </a:cubicBezTo>
                  <a:lnTo>
                    <a:pt x="25437" y="11728"/>
                  </a:lnTo>
                  <a:cubicBezTo>
                    <a:pt x="25206" y="11453"/>
                    <a:pt x="25195" y="11002"/>
                    <a:pt x="25034" y="10664"/>
                  </a:cubicBezTo>
                  <a:cubicBezTo>
                    <a:pt x="25039" y="10637"/>
                    <a:pt x="25039" y="10610"/>
                    <a:pt x="25045" y="10590"/>
                  </a:cubicBezTo>
                  <a:cubicBezTo>
                    <a:pt x="25028" y="10583"/>
                    <a:pt x="25007" y="10578"/>
                    <a:pt x="24985" y="10573"/>
                  </a:cubicBezTo>
                  <a:cubicBezTo>
                    <a:pt x="24853" y="10356"/>
                    <a:pt x="24638" y="10196"/>
                    <a:pt x="24216" y="10196"/>
                  </a:cubicBezTo>
                  <a:cubicBezTo>
                    <a:pt x="24210" y="10196"/>
                    <a:pt x="24203" y="10196"/>
                    <a:pt x="24196" y="10196"/>
                  </a:cubicBezTo>
                  <a:cubicBezTo>
                    <a:pt x="24045" y="10196"/>
                    <a:pt x="24196" y="9558"/>
                    <a:pt x="24276" y="9224"/>
                  </a:cubicBezTo>
                  <a:cubicBezTo>
                    <a:pt x="24459" y="8467"/>
                    <a:pt x="23959" y="8172"/>
                    <a:pt x="23567" y="7607"/>
                  </a:cubicBezTo>
                  <a:cubicBezTo>
                    <a:pt x="22407" y="5942"/>
                    <a:pt x="20656" y="6732"/>
                    <a:pt x="19307" y="6125"/>
                  </a:cubicBezTo>
                  <a:lnTo>
                    <a:pt x="19307" y="6135"/>
                  </a:lnTo>
                  <a:cubicBezTo>
                    <a:pt x="19065" y="6028"/>
                    <a:pt x="18931" y="5872"/>
                    <a:pt x="19012" y="5604"/>
                  </a:cubicBezTo>
                  <a:lnTo>
                    <a:pt x="19012" y="5604"/>
                  </a:lnTo>
                  <a:cubicBezTo>
                    <a:pt x="18983" y="5611"/>
                    <a:pt x="18958" y="5614"/>
                    <a:pt x="18935" y="5614"/>
                  </a:cubicBezTo>
                  <a:cubicBezTo>
                    <a:pt x="18790" y="5614"/>
                    <a:pt x="18752" y="5476"/>
                    <a:pt x="18705" y="5346"/>
                  </a:cubicBezTo>
                  <a:cubicBezTo>
                    <a:pt x="17872" y="5227"/>
                    <a:pt x="17034" y="5110"/>
                    <a:pt x="16202" y="4991"/>
                  </a:cubicBezTo>
                  <a:cubicBezTo>
                    <a:pt x="15471" y="4857"/>
                    <a:pt x="14740" y="4723"/>
                    <a:pt x="14011" y="4594"/>
                  </a:cubicBezTo>
                  <a:cubicBezTo>
                    <a:pt x="13521" y="4503"/>
                    <a:pt x="13059" y="4384"/>
                    <a:pt x="13145" y="3729"/>
                  </a:cubicBezTo>
                  <a:cubicBezTo>
                    <a:pt x="12823" y="3665"/>
                    <a:pt x="12839" y="3427"/>
                    <a:pt x="12876" y="3186"/>
                  </a:cubicBezTo>
                  <a:lnTo>
                    <a:pt x="12876" y="3186"/>
                  </a:lnTo>
                  <a:cubicBezTo>
                    <a:pt x="12762" y="3199"/>
                    <a:pt x="12650" y="3207"/>
                    <a:pt x="12539" y="3207"/>
                  </a:cubicBezTo>
                  <a:cubicBezTo>
                    <a:pt x="12249" y="3207"/>
                    <a:pt x="11969" y="3152"/>
                    <a:pt x="11705" y="2993"/>
                  </a:cubicBezTo>
                  <a:cubicBezTo>
                    <a:pt x="11700" y="2988"/>
                    <a:pt x="11695" y="2983"/>
                    <a:pt x="11695" y="2976"/>
                  </a:cubicBezTo>
                  <a:cubicBezTo>
                    <a:pt x="11625" y="2847"/>
                    <a:pt x="11609" y="2703"/>
                    <a:pt x="11651" y="2569"/>
                  </a:cubicBezTo>
                  <a:cubicBezTo>
                    <a:pt x="11673" y="2499"/>
                    <a:pt x="11705" y="2440"/>
                    <a:pt x="11748" y="2391"/>
                  </a:cubicBezTo>
                  <a:cubicBezTo>
                    <a:pt x="11259" y="2095"/>
                    <a:pt x="10787" y="1951"/>
                    <a:pt x="10309" y="1951"/>
                  </a:cubicBezTo>
                  <a:cubicBezTo>
                    <a:pt x="10088" y="1951"/>
                    <a:pt x="9868" y="1977"/>
                    <a:pt x="9642" y="2041"/>
                  </a:cubicBezTo>
                  <a:cubicBezTo>
                    <a:pt x="9707" y="1854"/>
                    <a:pt x="9771" y="1693"/>
                    <a:pt x="9841" y="1542"/>
                  </a:cubicBezTo>
                  <a:cubicBezTo>
                    <a:pt x="9858" y="1515"/>
                    <a:pt x="9878" y="1493"/>
                    <a:pt x="9895" y="1473"/>
                  </a:cubicBezTo>
                  <a:cubicBezTo>
                    <a:pt x="10357" y="893"/>
                    <a:pt x="10056" y="468"/>
                    <a:pt x="9836" y="268"/>
                  </a:cubicBezTo>
                  <a:cubicBezTo>
                    <a:pt x="9637" y="92"/>
                    <a:pt x="9401" y="0"/>
                    <a:pt x="9143"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WI</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77" name="Google Shape;1175;p29">
              <a:extLst>
                <a:ext uri="{FF2B5EF4-FFF2-40B4-BE49-F238E27FC236}">
                  <a16:creationId xmlns:a16="http://schemas.microsoft.com/office/drawing/2014/main" id="{8669365F-B1BD-7107-CA60-A3700AA253AC}"/>
                </a:ext>
              </a:extLst>
            </p:cNvPr>
            <p:cNvSpPr/>
            <p:nvPr/>
          </p:nvSpPr>
          <p:spPr>
            <a:xfrm>
              <a:off x="5469975" y="2837225"/>
              <a:ext cx="1216675" cy="526650"/>
            </a:xfrm>
            <a:custGeom>
              <a:avLst/>
              <a:gdLst/>
              <a:ahLst/>
              <a:cxnLst/>
              <a:rect l="l" t="t" r="r" b="b"/>
              <a:pathLst>
                <a:path w="48667" h="21066" extrusionOk="0">
                  <a:moveTo>
                    <a:pt x="12097" y="15407"/>
                  </a:moveTo>
                  <a:lnTo>
                    <a:pt x="12097" y="15407"/>
                  </a:lnTo>
                  <a:cubicBezTo>
                    <a:pt x="12096" y="15407"/>
                    <a:pt x="12095" y="15408"/>
                    <a:pt x="12093" y="15408"/>
                  </a:cubicBezTo>
                  <a:cubicBezTo>
                    <a:pt x="12095" y="15408"/>
                    <a:pt x="12096" y="15408"/>
                    <a:pt x="12097" y="15407"/>
                  </a:cubicBezTo>
                  <a:close/>
                  <a:moveTo>
                    <a:pt x="45766" y="1"/>
                  </a:moveTo>
                  <a:cubicBezTo>
                    <a:pt x="45551" y="103"/>
                    <a:pt x="45321" y="140"/>
                    <a:pt x="45127" y="172"/>
                  </a:cubicBezTo>
                  <a:cubicBezTo>
                    <a:pt x="45073" y="184"/>
                    <a:pt x="45014" y="189"/>
                    <a:pt x="44960" y="199"/>
                  </a:cubicBezTo>
                  <a:cubicBezTo>
                    <a:pt x="44789" y="145"/>
                    <a:pt x="44605" y="113"/>
                    <a:pt x="44398" y="113"/>
                  </a:cubicBezTo>
                  <a:cubicBezTo>
                    <a:pt x="44235" y="113"/>
                    <a:pt x="44058" y="133"/>
                    <a:pt x="43864" y="179"/>
                  </a:cubicBezTo>
                  <a:cubicBezTo>
                    <a:pt x="37783" y="1623"/>
                    <a:pt x="31691" y="3026"/>
                    <a:pt x="25475" y="3799"/>
                  </a:cubicBezTo>
                  <a:cubicBezTo>
                    <a:pt x="21784" y="4256"/>
                    <a:pt x="18142" y="5072"/>
                    <a:pt x="14414" y="5163"/>
                  </a:cubicBezTo>
                  <a:cubicBezTo>
                    <a:pt x="13990" y="5175"/>
                    <a:pt x="13715" y="5319"/>
                    <a:pt x="13559" y="5567"/>
                  </a:cubicBezTo>
                  <a:cubicBezTo>
                    <a:pt x="13356" y="5599"/>
                    <a:pt x="13145" y="5631"/>
                    <a:pt x="12942" y="5664"/>
                  </a:cubicBezTo>
                  <a:cubicBezTo>
                    <a:pt x="13006" y="5716"/>
                    <a:pt x="13060" y="5803"/>
                    <a:pt x="13098" y="5942"/>
                  </a:cubicBezTo>
                  <a:cubicBezTo>
                    <a:pt x="13254" y="6475"/>
                    <a:pt x="13313" y="7102"/>
                    <a:pt x="12565" y="7372"/>
                  </a:cubicBezTo>
                  <a:cubicBezTo>
                    <a:pt x="12469" y="7404"/>
                    <a:pt x="12416" y="7543"/>
                    <a:pt x="12340" y="7645"/>
                  </a:cubicBezTo>
                  <a:cubicBezTo>
                    <a:pt x="12077" y="7737"/>
                    <a:pt x="12077" y="7962"/>
                    <a:pt x="12066" y="8183"/>
                  </a:cubicBezTo>
                  <a:cubicBezTo>
                    <a:pt x="11808" y="8280"/>
                    <a:pt x="11814" y="8510"/>
                    <a:pt x="11798" y="8731"/>
                  </a:cubicBezTo>
                  <a:cubicBezTo>
                    <a:pt x="11464" y="9172"/>
                    <a:pt x="10787" y="8768"/>
                    <a:pt x="10470" y="9247"/>
                  </a:cubicBezTo>
                  <a:cubicBezTo>
                    <a:pt x="10321" y="9274"/>
                    <a:pt x="10122" y="9252"/>
                    <a:pt x="10186" y="9499"/>
                  </a:cubicBezTo>
                  <a:cubicBezTo>
                    <a:pt x="10128" y="9476"/>
                    <a:pt x="10075" y="9466"/>
                    <a:pt x="10028" y="9466"/>
                  </a:cubicBezTo>
                  <a:cubicBezTo>
                    <a:pt x="9851" y="9466"/>
                    <a:pt x="9750" y="9611"/>
                    <a:pt x="9664" y="9789"/>
                  </a:cubicBezTo>
                  <a:cubicBezTo>
                    <a:pt x="9106" y="10246"/>
                    <a:pt x="8037" y="9827"/>
                    <a:pt x="7801" y="10841"/>
                  </a:cubicBezTo>
                  <a:cubicBezTo>
                    <a:pt x="7749" y="10833"/>
                    <a:pt x="7698" y="10827"/>
                    <a:pt x="7649" y="10827"/>
                  </a:cubicBezTo>
                  <a:cubicBezTo>
                    <a:pt x="7467" y="10827"/>
                    <a:pt x="7322" y="10902"/>
                    <a:pt x="7258" y="11132"/>
                  </a:cubicBezTo>
                  <a:cubicBezTo>
                    <a:pt x="6995" y="11438"/>
                    <a:pt x="6651" y="11701"/>
                    <a:pt x="6721" y="12180"/>
                  </a:cubicBezTo>
                  <a:cubicBezTo>
                    <a:pt x="6667" y="12175"/>
                    <a:pt x="6615" y="12173"/>
                    <a:pt x="6563" y="12173"/>
                  </a:cubicBezTo>
                  <a:cubicBezTo>
                    <a:pt x="6173" y="12173"/>
                    <a:pt x="5853" y="12308"/>
                    <a:pt x="5667" y="12711"/>
                  </a:cubicBezTo>
                  <a:cubicBezTo>
                    <a:pt x="5616" y="12694"/>
                    <a:pt x="5569" y="12686"/>
                    <a:pt x="5526" y="12686"/>
                  </a:cubicBezTo>
                  <a:cubicBezTo>
                    <a:pt x="5340" y="12686"/>
                    <a:pt x="5224" y="12830"/>
                    <a:pt x="5119" y="12996"/>
                  </a:cubicBezTo>
                  <a:lnTo>
                    <a:pt x="5126" y="12996"/>
                  </a:lnTo>
                  <a:cubicBezTo>
                    <a:pt x="5039" y="13082"/>
                    <a:pt x="4958" y="13162"/>
                    <a:pt x="4873" y="13249"/>
                  </a:cubicBezTo>
                  <a:cubicBezTo>
                    <a:pt x="4256" y="13459"/>
                    <a:pt x="3616" y="13641"/>
                    <a:pt x="3014" y="13898"/>
                  </a:cubicBezTo>
                  <a:cubicBezTo>
                    <a:pt x="2434" y="14146"/>
                    <a:pt x="1687" y="14258"/>
                    <a:pt x="1655" y="15123"/>
                  </a:cubicBezTo>
                  <a:cubicBezTo>
                    <a:pt x="1231" y="15361"/>
                    <a:pt x="1499" y="15683"/>
                    <a:pt x="1553" y="15973"/>
                  </a:cubicBezTo>
                  <a:cubicBezTo>
                    <a:pt x="1542" y="16063"/>
                    <a:pt x="1531" y="16150"/>
                    <a:pt x="1521" y="16236"/>
                  </a:cubicBezTo>
                  <a:cubicBezTo>
                    <a:pt x="1462" y="16241"/>
                    <a:pt x="1407" y="16251"/>
                    <a:pt x="1355" y="16268"/>
                  </a:cubicBezTo>
                  <a:cubicBezTo>
                    <a:pt x="1333" y="16273"/>
                    <a:pt x="1311" y="16284"/>
                    <a:pt x="1290" y="16289"/>
                  </a:cubicBezTo>
                  <a:cubicBezTo>
                    <a:pt x="1263" y="16306"/>
                    <a:pt x="1231" y="16316"/>
                    <a:pt x="1204" y="16333"/>
                  </a:cubicBezTo>
                  <a:cubicBezTo>
                    <a:pt x="1166" y="16348"/>
                    <a:pt x="1139" y="16370"/>
                    <a:pt x="1107" y="16392"/>
                  </a:cubicBezTo>
                  <a:cubicBezTo>
                    <a:pt x="1090" y="16397"/>
                    <a:pt x="1080" y="16407"/>
                    <a:pt x="1064" y="16418"/>
                  </a:cubicBezTo>
                  <a:cubicBezTo>
                    <a:pt x="1058" y="16418"/>
                    <a:pt x="1058" y="16424"/>
                    <a:pt x="1053" y="16424"/>
                  </a:cubicBezTo>
                  <a:cubicBezTo>
                    <a:pt x="844" y="16585"/>
                    <a:pt x="666" y="16799"/>
                    <a:pt x="440" y="16933"/>
                  </a:cubicBezTo>
                  <a:cubicBezTo>
                    <a:pt x="301" y="17198"/>
                    <a:pt x="167" y="17449"/>
                    <a:pt x="1" y="17659"/>
                  </a:cubicBezTo>
                  <a:cubicBezTo>
                    <a:pt x="38" y="17761"/>
                    <a:pt x="81" y="17858"/>
                    <a:pt x="135" y="17939"/>
                  </a:cubicBezTo>
                  <a:cubicBezTo>
                    <a:pt x="167" y="17992"/>
                    <a:pt x="199" y="18041"/>
                    <a:pt x="242" y="18084"/>
                  </a:cubicBezTo>
                  <a:cubicBezTo>
                    <a:pt x="388" y="18240"/>
                    <a:pt x="575" y="18336"/>
                    <a:pt x="800" y="18390"/>
                  </a:cubicBezTo>
                  <a:cubicBezTo>
                    <a:pt x="3036" y="18094"/>
                    <a:pt x="5265" y="17788"/>
                    <a:pt x="7500" y="17476"/>
                  </a:cubicBezTo>
                  <a:cubicBezTo>
                    <a:pt x="7586" y="17465"/>
                    <a:pt x="7664" y="17459"/>
                    <a:pt x="7735" y="17459"/>
                  </a:cubicBezTo>
                  <a:cubicBezTo>
                    <a:pt x="7860" y="17459"/>
                    <a:pt x="7962" y="17477"/>
                    <a:pt x="8047" y="17514"/>
                  </a:cubicBezTo>
                  <a:cubicBezTo>
                    <a:pt x="8069" y="17509"/>
                    <a:pt x="8085" y="17509"/>
                    <a:pt x="8107" y="17503"/>
                  </a:cubicBezTo>
                  <a:cubicBezTo>
                    <a:pt x="8144" y="17449"/>
                    <a:pt x="8176" y="17396"/>
                    <a:pt x="8214" y="17337"/>
                  </a:cubicBezTo>
                  <a:cubicBezTo>
                    <a:pt x="8290" y="17203"/>
                    <a:pt x="8381" y="17057"/>
                    <a:pt x="8483" y="16918"/>
                  </a:cubicBezTo>
                  <a:cubicBezTo>
                    <a:pt x="8821" y="16869"/>
                    <a:pt x="9160" y="16826"/>
                    <a:pt x="9498" y="16784"/>
                  </a:cubicBezTo>
                  <a:cubicBezTo>
                    <a:pt x="9912" y="16611"/>
                    <a:pt x="10326" y="16440"/>
                    <a:pt x="10740" y="16273"/>
                  </a:cubicBezTo>
                  <a:cubicBezTo>
                    <a:pt x="10779" y="16026"/>
                    <a:pt x="10885" y="15890"/>
                    <a:pt x="11072" y="15890"/>
                  </a:cubicBezTo>
                  <a:cubicBezTo>
                    <a:pt x="11133" y="15890"/>
                    <a:pt x="11203" y="15904"/>
                    <a:pt x="11282" y="15934"/>
                  </a:cubicBezTo>
                  <a:cubicBezTo>
                    <a:pt x="11349" y="15508"/>
                    <a:pt x="11618" y="15393"/>
                    <a:pt x="11970" y="15393"/>
                  </a:cubicBezTo>
                  <a:cubicBezTo>
                    <a:pt x="12012" y="15393"/>
                    <a:pt x="12055" y="15395"/>
                    <a:pt x="12099" y="15398"/>
                  </a:cubicBezTo>
                  <a:cubicBezTo>
                    <a:pt x="12099" y="15401"/>
                    <a:pt x="12099" y="15405"/>
                    <a:pt x="12097" y="15407"/>
                  </a:cubicBezTo>
                  <a:lnTo>
                    <a:pt x="12097" y="15407"/>
                  </a:lnTo>
                  <a:cubicBezTo>
                    <a:pt x="13170" y="14982"/>
                    <a:pt x="14273" y="14809"/>
                    <a:pt x="15396" y="14809"/>
                  </a:cubicBezTo>
                  <a:cubicBezTo>
                    <a:pt x="15847" y="14809"/>
                    <a:pt x="16300" y="14836"/>
                    <a:pt x="16756" y="14887"/>
                  </a:cubicBezTo>
                  <a:cubicBezTo>
                    <a:pt x="17154" y="14791"/>
                    <a:pt x="17551" y="14699"/>
                    <a:pt x="17948" y="14602"/>
                  </a:cubicBezTo>
                  <a:cubicBezTo>
                    <a:pt x="18330" y="14522"/>
                    <a:pt x="18722" y="14409"/>
                    <a:pt x="19098" y="14355"/>
                  </a:cubicBezTo>
                  <a:cubicBezTo>
                    <a:pt x="19356" y="14399"/>
                    <a:pt x="19624" y="14431"/>
                    <a:pt x="19899" y="14468"/>
                  </a:cubicBezTo>
                  <a:cubicBezTo>
                    <a:pt x="20018" y="14479"/>
                    <a:pt x="20135" y="14495"/>
                    <a:pt x="20259" y="14511"/>
                  </a:cubicBezTo>
                  <a:cubicBezTo>
                    <a:pt x="20479" y="14635"/>
                    <a:pt x="20688" y="14833"/>
                    <a:pt x="20881" y="15135"/>
                  </a:cubicBezTo>
                  <a:cubicBezTo>
                    <a:pt x="20946" y="15111"/>
                    <a:pt x="21004" y="15100"/>
                    <a:pt x="21057" y="15100"/>
                  </a:cubicBezTo>
                  <a:cubicBezTo>
                    <a:pt x="21235" y="15100"/>
                    <a:pt x="21352" y="15225"/>
                    <a:pt x="21436" y="15419"/>
                  </a:cubicBezTo>
                  <a:cubicBezTo>
                    <a:pt x="21429" y="15419"/>
                    <a:pt x="21424" y="15425"/>
                    <a:pt x="21424" y="15425"/>
                  </a:cubicBezTo>
                  <a:cubicBezTo>
                    <a:pt x="21585" y="15763"/>
                    <a:pt x="21790" y="15999"/>
                    <a:pt x="22032" y="16144"/>
                  </a:cubicBezTo>
                  <a:cubicBezTo>
                    <a:pt x="22037" y="16155"/>
                    <a:pt x="22037" y="16160"/>
                    <a:pt x="22042" y="16172"/>
                  </a:cubicBezTo>
                  <a:lnTo>
                    <a:pt x="22081" y="16172"/>
                  </a:lnTo>
                  <a:cubicBezTo>
                    <a:pt x="22276" y="16278"/>
                    <a:pt x="22496" y="16329"/>
                    <a:pt x="22737" y="16329"/>
                  </a:cubicBezTo>
                  <a:cubicBezTo>
                    <a:pt x="22959" y="16329"/>
                    <a:pt x="23198" y="16286"/>
                    <a:pt x="23455" y="16204"/>
                  </a:cubicBezTo>
                  <a:cubicBezTo>
                    <a:pt x="23637" y="16144"/>
                    <a:pt x="23836" y="16065"/>
                    <a:pt x="24035" y="16065"/>
                  </a:cubicBezTo>
                  <a:cubicBezTo>
                    <a:pt x="24177" y="16065"/>
                    <a:pt x="24320" y="16106"/>
                    <a:pt x="24454" y="16224"/>
                  </a:cubicBezTo>
                  <a:cubicBezTo>
                    <a:pt x="24577" y="16253"/>
                    <a:pt x="24696" y="16265"/>
                    <a:pt x="24811" y="16265"/>
                  </a:cubicBezTo>
                  <a:cubicBezTo>
                    <a:pt x="25002" y="16265"/>
                    <a:pt x="25185" y="16231"/>
                    <a:pt x="25362" y="16177"/>
                  </a:cubicBezTo>
                  <a:cubicBezTo>
                    <a:pt x="25459" y="16144"/>
                    <a:pt x="25555" y="16112"/>
                    <a:pt x="25647" y="16075"/>
                  </a:cubicBezTo>
                  <a:cubicBezTo>
                    <a:pt x="25787" y="16021"/>
                    <a:pt x="25927" y="15961"/>
                    <a:pt x="26066" y="15902"/>
                  </a:cubicBezTo>
                  <a:cubicBezTo>
                    <a:pt x="26297" y="15805"/>
                    <a:pt x="26534" y="15715"/>
                    <a:pt x="26775" y="15666"/>
                  </a:cubicBezTo>
                  <a:cubicBezTo>
                    <a:pt x="27098" y="15623"/>
                    <a:pt x="27454" y="15388"/>
                    <a:pt x="27768" y="15388"/>
                  </a:cubicBezTo>
                  <a:cubicBezTo>
                    <a:pt x="27998" y="15388"/>
                    <a:pt x="28205" y="15514"/>
                    <a:pt x="28360" y="15934"/>
                  </a:cubicBezTo>
                  <a:cubicBezTo>
                    <a:pt x="28428" y="15921"/>
                    <a:pt x="28491" y="15915"/>
                    <a:pt x="28550" y="15915"/>
                  </a:cubicBezTo>
                  <a:cubicBezTo>
                    <a:pt x="28879" y="15915"/>
                    <a:pt x="29075" y="16112"/>
                    <a:pt x="29165" y="16467"/>
                  </a:cubicBezTo>
                  <a:cubicBezTo>
                    <a:pt x="29221" y="16452"/>
                    <a:pt x="29274" y="16444"/>
                    <a:pt x="29323" y="16444"/>
                  </a:cubicBezTo>
                  <a:cubicBezTo>
                    <a:pt x="29499" y="16444"/>
                    <a:pt x="29627" y="16542"/>
                    <a:pt x="29703" y="16735"/>
                  </a:cubicBezTo>
                  <a:cubicBezTo>
                    <a:pt x="29983" y="16816"/>
                    <a:pt x="30300" y="16848"/>
                    <a:pt x="30236" y="17267"/>
                  </a:cubicBezTo>
                  <a:cubicBezTo>
                    <a:pt x="30301" y="17255"/>
                    <a:pt x="30363" y="17249"/>
                    <a:pt x="30421" y="17249"/>
                  </a:cubicBezTo>
                  <a:cubicBezTo>
                    <a:pt x="30748" y="17249"/>
                    <a:pt x="30944" y="17442"/>
                    <a:pt x="31035" y="17799"/>
                  </a:cubicBezTo>
                  <a:cubicBezTo>
                    <a:pt x="31089" y="17785"/>
                    <a:pt x="31140" y="17778"/>
                    <a:pt x="31188" y="17778"/>
                  </a:cubicBezTo>
                  <a:cubicBezTo>
                    <a:pt x="31365" y="17778"/>
                    <a:pt x="31492" y="17874"/>
                    <a:pt x="31573" y="18073"/>
                  </a:cubicBezTo>
                  <a:cubicBezTo>
                    <a:pt x="31847" y="18148"/>
                    <a:pt x="32170" y="18185"/>
                    <a:pt x="32105" y="18604"/>
                  </a:cubicBezTo>
                  <a:cubicBezTo>
                    <a:pt x="32172" y="18591"/>
                    <a:pt x="32235" y="18585"/>
                    <a:pt x="32293" y="18585"/>
                  </a:cubicBezTo>
                  <a:cubicBezTo>
                    <a:pt x="32618" y="18585"/>
                    <a:pt x="32814" y="18782"/>
                    <a:pt x="32904" y="19137"/>
                  </a:cubicBezTo>
                  <a:cubicBezTo>
                    <a:pt x="32961" y="19122"/>
                    <a:pt x="33013" y="19114"/>
                    <a:pt x="33062" y="19114"/>
                  </a:cubicBezTo>
                  <a:cubicBezTo>
                    <a:pt x="33236" y="19114"/>
                    <a:pt x="33362" y="19212"/>
                    <a:pt x="33442" y="19405"/>
                  </a:cubicBezTo>
                  <a:cubicBezTo>
                    <a:pt x="33717" y="19486"/>
                    <a:pt x="34039" y="19524"/>
                    <a:pt x="33975" y="19938"/>
                  </a:cubicBezTo>
                  <a:cubicBezTo>
                    <a:pt x="34042" y="19924"/>
                    <a:pt x="34106" y="19918"/>
                    <a:pt x="34165" y="19918"/>
                  </a:cubicBezTo>
                  <a:cubicBezTo>
                    <a:pt x="34489" y="19918"/>
                    <a:pt x="34683" y="20114"/>
                    <a:pt x="34769" y="20469"/>
                  </a:cubicBezTo>
                  <a:cubicBezTo>
                    <a:pt x="34974" y="20506"/>
                    <a:pt x="35167" y="20523"/>
                    <a:pt x="35366" y="20523"/>
                  </a:cubicBezTo>
                  <a:cubicBezTo>
                    <a:pt x="35413" y="20679"/>
                    <a:pt x="35446" y="20866"/>
                    <a:pt x="35381" y="21059"/>
                  </a:cubicBezTo>
                  <a:cubicBezTo>
                    <a:pt x="35393" y="21059"/>
                    <a:pt x="35403" y="21066"/>
                    <a:pt x="35413" y="21066"/>
                  </a:cubicBezTo>
                  <a:cubicBezTo>
                    <a:pt x="36021" y="21066"/>
                    <a:pt x="36601" y="20937"/>
                    <a:pt x="37166" y="20813"/>
                  </a:cubicBezTo>
                  <a:cubicBezTo>
                    <a:pt x="37353" y="20776"/>
                    <a:pt x="37536" y="20732"/>
                    <a:pt x="37724" y="20700"/>
                  </a:cubicBezTo>
                  <a:cubicBezTo>
                    <a:pt x="38492" y="20555"/>
                    <a:pt x="39029" y="19975"/>
                    <a:pt x="39029" y="19287"/>
                  </a:cubicBezTo>
                  <a:cubicBezTo>
                    <a:pt x="39035" y="17751"/>
                    <a:pt x="39926" y="16762"/>
                    <a:pt x="40958" y="15618"/>
                  </a:cubicBezTo>
                  <a:cubicBezTo>
                    <a:pt x="41076" y="15489"/>
                    <a:pt x="41188" y="15366"/>
                    <a:pt x="41302" y="15237"/>
                  </a:cubicBezTo>
                  <a:cubicBezTo>
                    <a:pt x="42366" y="14039"/>
                    <a:pt x="43300" y="13104"/>
                    <a:pt x="44853" y="12948"/>
                  </a:cubicBezTo>
                  <a:cubicBezTo>
                    <a:pt x="45782" y="12851"/>
                    <a:pt x="46384" y="12061"/>
                    <a:pt x="46454" y="10831"/>
                  </a:cubicBezTo>
                  <a:cubicBezTo>
                    <a:pt x="46464" y="10654"/>
                    <a:pt x="46384" y="10482"/>
                    <a:pt x="46239" y="10375"/>
                  </a:cubicBezTo>
                  <a:cubicBezTo>
                    <a:pt x="46142" y="10305"/>
                    <a:pt x="46035" y="10268"/>
                    <a:pt x="45922" y="10268"/>
                  </a:cubicBezTo>
                  <a:cubicBezTo>
                    <a:pt x="45857" y="10268"/>
                    <a:pt x="45793" y="10278"/>
                    <a:pt x="45733" y="10300"/>
                  </a:cubicBezTo>
                  <a:cubicBezTo>
                    <a:pt x="45470" y="10402"/>
                    <a:pt x="45218" y="10504"/>
                    <a:pt x="44971" y="10611"/>
                  </a:cubicBezTo>
                  <a:cubicBezTo>
                    <a:pt x="44799" y="10687"/>
                    <a:pt x="44627" y="10756"/>
                    <a:pt x="44466" y="10821"/>
                  </a:cubicBezTo>
                  <a:cubicBezTo>
                    <a:pt x="44761" y="10288"/>
                    <a:pt x="44944" y="9450"/>
                    <a:pt x="44837" y="9058"/>
                  </a:cubicBezTo>
                  <a:cubicBezTo>
                    <a:pt x="44766" y="8817"/>
                    <a:pt x="44605" y="8709"/>
                    <a:pt x="44515" y="8666"/>
                  </a:cubicBezTo>
                  <a:cubicBezTo>
                    <a:pt x="44203" y="8516"/>
                    <a:pt x="44154" y="8495"/>
                    <a:pt x="44272" y="8188"/>
                  </a:cubicBezTo>
                  <a:lnTo>
                    <a:pt x="44272" y="8188"/>
                  </a:lnTo>
                  <a:cubicBezTo>
                    <a:pt x="44644" y="8430"/>
                    <a:pt x="45063" y="8473"/>
                    <a:pt x="45411" y="8478"/>
                  </a:cubicBezTo>
                  <a:cubicBezTo>
                    <a:pt x="46346" y="8478"/>
                    <a:pt x="47319" y="7839"/>
                    <a:pt x="47952" y="6819"/>
                  </a:cubicBezTo>
                  <a:cubicBezTo>
                    <a:pt x="48544" y="5862"/>
                    <a:pt x="48666" y="4831"/>
                    <a:pt x="48280" y="4057"/>
                  </a:cubicBezTo>
                  <a:cubicBezTo>
                    <a:pt x="48022" y="3546"/>
                    <a:pt x="47694" y="3439"/>
                    <a:pt x="47458" y="3439"/>
                  </a:cubicBezTo>
                  <a:cubicBezTo>
                    <a:pt x="47211" y="3439"/>
                    <a:pt x="46856" y="3563"/>
                    <a:pt x="46588" y="4137"/>
                  </a:cubicBezTo>
                  <a:lnTo>
                    <a:pt x="46539" y="4234"/>
                  </a:lnTo>
                  <a:cubicBezTo>
                    <a:pt x="46405" y="3911"/>
                    <a:pt x="46120" y="3402"/>
                    <a:pt x="45514" y="3402"/>
                  </a:cubicBezTo>
                  <a:cubicBezTo>
                    <a:pt x="45218" y="3402"/>
                    <a:pt x="44955" y="3525"/>
                    <a:pt x="44697" y="3648"/>
                  </a:cubicBezTo>
                  <a:cubicBezTo>
                    <a:pt x="44697" y="3648"/>
                    <a:pt x="44278" y="3847"/>
                    <a:pt x="44144" y="3906"/>
                  </a:cubicBezTo>
                  <a:cubicBezTo>
                    <a:pt x="44342" y="3750"/>
                    <a:pt x="44520" y="3584"/>
                    <a:pt x="44691" y="3423"/>
                  </a:cubicBezTo>
                  <a:cubicBezTo>
                    <a:pt x="45218" y="2929"/>
                    <a:pt x="45669" y="2500"/>
                    <a:pt x="46346" y="2500"/>
                  </a:cubicBezTo>
                  <a:lnTo>
                    <a:pt x="46449" y="2500"/>
                  </a:lnTo>
                  <a:cubicBezTo>
                    <a:pt x="46846" y="2500"/>
                    <a:pt x="47201" y="2225"/>
                    <a:pt x="47308" y="1838"/>
                  </a:cubicBezTo>
                  <a:cubicBezTo>
                    <a:pt x="47416" y="1446"/>
                    <a:pt x="47255" y="1054"/>
                    <a:pt x="46894" y="839"/>
                  </a:cubicBezTo>
                  <a:cubicBezTo>
                    <a:pt x="46712" y="727"/>
                    <a:pt x="46529" y="581"/>
                    <a:pt x="46341" y="430"/>
                  </a:cubicBezTo>
                  <a:cubicBezTo>
                    <a:pt x="46164" y="286"/>
                    <a:pt x="45976" y="135"/>
                    <a:pt x="45766" y="1"/>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NC</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78" name="Google Shape;1176;p29">
              <a:extLst>
                <a:ext uri="{FF2B5EF4-FFF2-40B4-BE49-F238E27FC236}">
                  <a16:creationId xmlns:a16="http://schemas.microsoft.com/office/drawing/2014/main" id="{76A4DFC9-3FB4-2509-3C30-59433AC0EDB6}"/>
                </a:ext>
              </a:extLst>
            </p:cNvPr>
            <p:cNvSpPr/>
            <p:nvPr/>
          </p:nvSpPr>
          <p:spPr>
            <a:xfrm>
              <a:off x="4531200" y="3340750"/>
              <a:ext cx="490225" cy="851900"/>
            </a:xfrm>
            <a:custGeom>
              <a:avLst/>
              <a:gdLst/>
              <a:ahLst/>
              <a:cxnLst/>
              <a:rect l="l" t="t" r="r" b="b"/>
              <a:pathLst>
                <a:path w="19609" h="34076" extrusionOk="0">
                  <a:moveTo>
                    <a:pt x="18061" y="0"/>
                  </a:moveTo>
                  <a:cubicBezTo>
                    <a:pt x="15413" y="209"/>
                    <a:pt x="12764" y="403"/>
                    <a:pt x="10110" y="591"/>
                  </a:cubicBezTo>
                  <a:cubicBezTo>
                    <a:pt x="9570" y="630"/>
                    <a:pt x="8963" y="736"/>
                    <a:pt x="8414" y="736"/>
                  </a:cubicBezTo>
                  <a:cubicBezTo>
                    <a:pt x="8056" y="736"/>
                    <a:pt x="7724" y="691"/>
                    <a:pt x="7451" y="553"/>
                  </a:cubicBezTo>
                  <a:cubicBezTo>
                    <a:pt x="7236" y="586"/>
                    <a:pt x="7015" y="628"/>
                    <a:pt x="6801" y="693"/>
                  </a:cubicBezTo>
                  <a:cubicBezTo>
                    <a:pt x="6623" y="742"/>
                    <a:pt x="6447" y="801"/>
                    <a:pt x="6274" y="876"/>
                  </a:cubicBezTo>
                  <a:cubicBezTo>
                    <a:pt x="5968" y="1322"/>
                    <a:pt x="5609" y="1746"/>
                    <a:pt x="5307" y="2192"/>
                  </a:cubicBezTo>
                  <a:cubicBezTo>
                    <a:pt x="4442" y="2837"/>
                    <a:pt x="4925" y="3794"/>
                    <a:pt x="4764" y="4605"/>
                  </a:cubicBezTo>
                  <a:cubicBezTo>
                    <a:pt x="4593" y="4776"/>
                    <a:pt x="4416" y="4947"/>
                    <a:pt x="4243" y="5120"/>
                  </a:cubicBezTo>
                  <a:cubicBezTo>
                    <a:pt x="3152" y="5308"/>
                    <a:pt x="3105" y="6221"/>
                    <a:pt x="2906" y="7037"/>
                  </a:cubicBezTo>
                  <a:cubicBezTo>
                    <a:pt x="2857" y="7613"/>
                    <a:pt x="2353" y="8086"/>
                    <a:pt x="2202" y="8634"/>
                  </a:cubicBezTo>
                  <a:cubicBezTo>
                    <a:pt x="2165" y="8751"/>
                    <a:pt x="2148" y="8875"/>
                    <a:pt x="2153" y="9004"/>
                  </a:cubicBezTo>
                  <a:cubicBezTo>
                    <a:pt x="2165" y="9170"/>
                    <a:pt x="2213" y="9348"/>
                    <a:pt x="2326" y="9536"/>
                  </a:cubicBezTo>
                  <a:cubicBezTo>
                    <a:pt x="2224" y="9660"/>
                    <a:pt x="2127" y="9782"/>
                    <a:pt x="2036" y="9906"/>
                  </a:cubicBezTo>
                  <a:cubicBezTo>
                    <a:pt x="1471" y="10412"/>
                    <a:pt x="484" y="10777"/>
                    <a:pt x="1558" y="11813"/>
                  </a:cubicBezTo>
                  <a:cubicBezTo>
                    <a:pt x="1627" y="12232"/>
                    <a:pt x="1563" y="12710"/>
                    <a:pt x="2095" y="12888"/>
                  </a:cubicBezTo>
                  <a:cubicBezTo>
                    <a:pt x="2095" y="13102"/>
                    <a:pt x="2106" y="13318"/>
                    <a:pt x="2084" y="13533"/>
                  </a:cubicBezTo>
                  <a:cubicBezTo>
                    <a:pt x="2036" y="14108"/>
                    <a:pt x="1875" y="14495"/>
                    <a:pt x="1600" y="14741"/>
                  </a:cubicBezTo>
                  <a:cubicBezTo>
                    <a:pt x="1617" y="14946"/>
                    <a:pt x="1638" y="15145"/>
                    <a:pt x="1676" y="15343"/>
                  </a:cubicBezTo>
                  <a:cubicBezTo>
                    <a:pt x="1687" y="15403"/>
                    <a:pt x="1697" y="15462"/>
                    <a:pt x="1708" y="15520"/>
                  </a:cubicBezTo>
                  <a:cubicBezTo>
                    <a:pt x="2379" y="16068"/>
                    <a:pt x="2428" y="17325"/>
                    <a:pt x="2654" y="18287"/>
                  </a:cubicBezTo>
                  <a:cubicBezTo>
                    <a:pt x="2675" y="18368"/>
                    <a:pt x="2798" y="18427"/>
                    <a:pt x="2889" y="18492"/>
                  </a:cubicBezTo>
                  <a:cubicBezTo>
                    <a:pt x="2842" y="18743"/>
                    <a:pt x="2830" y="18975"/>
                    <a:pt x="3159" y="19033"/>
                  </a:cubicBezTo>
                  <a:cubicBezTo>
                    <a:pt x="3132" y="19479"/>
                    <a:pt x="3410" y="19990"/>
                    <a:pt x="2917" y="20339"/>
                  </a:cubicBezTo>
                  <a:cubicBezTo>
                    <a:pt x="1939" y="20662"/>
                    <a:pt x="2224" y="21527"/>
                    <a:pt x="2100" y="22214"/>
                  </a:cubicBezTo>
                  <a:cubicBezTo>
                    <a:pt x="1515" y="22477"/>
                    <a:pt x="1359" y="22993"/>
                    <a:pt x="1295" y="23568"/>
                  </a:cubicBezTo>
                  <a:cubicBezTo>
                    <a:pt x="1295" y="23568"/>
                    <a:pt x="1296" y="23568"/>
                    <a:pt x="1297" y="23567"/>
                  </a:cubicBezTo>
                  <a:lnTo>
                    <a:pt x="1297" y="23567"/>
                  </a:lnTo>
                  <a:cubicBezTo>
                    <a:pt x="429" y="25027"/>
                    <a:pt x="90" y="26637"/>
                    <a:pt x="0" y="28311"/>
                  </a:cubicBezTo>
                  <a:lnTo>
                    <a:pt x="0" y="28360"/>
                  </a:lnTo>
                  <a:cubicBezTo>
                    <a:pt x="65" y="28554"/>
                    <a:pt x="177" y="28742"/>
                    <a:pt x="370" y="28871"/>
                  </a:cubicBezTo>
                  <a:cubicBezTo>
                    <a:pt x="557" y="28857"/>
                    <a:pt x="745" y="28852"/>
                    <a:pt x="933" y="28852"/>
                  </a:cubicBezTo>
                  <a:cubicBezTo>
                    <a:pt x="1245" y="28852"/>
                    <a:pt x="1559" y="28864"/>
                    <a:pt x="1871" y="28864"/>
                  </a:cubicBezTo>
                  <a:cubicBezTo>
                    <a:pt x="2595" y="28864"/>
                    <a:pt x="3311" y="28800"/>
                    <a:pt x="3975" y="28371"/>
                  </a:cubicBezTo>
                  <a:lnTo>
                    <a:pt x="6113" y="28365"/>
                  </a:lnTo>
                  <a:cubicBezTo>
                    <a:pt x="6284" y="28587"/>
                    <a:pt x="6481" y="28649"/>
                    <a:pt x="6686" y="28649"/>
                  </a:cubicBezTo>
                  <a:cubicBezTo>
                    <a:pt x="6933" y="28649"/>
                    <a:pt x="7192" y="28559"/>
                    <a:pt x="7429" y="28554"/>
                  </a:cubicBezTo>
                  <a:cubicBezTo>
                    <a:pt x="8595" y="28532"/>
                    <a:pt x="9755" y="28445"/>
                    <a:pt x="10916" y="28381"/>
                  </a:cubicBezTo>
                  <a:cubicBezTo>
                    <a:pt x="10929" y="28488"/>
                    <a:pt x="10994" y="28502"/>
                    <a:pt x="11066" y="28502"/>
                  </a:cubicBezTo>
                  <a:cubicBezTo>
                    <a:pt x="11091" y="28502"/>
                    <a:pt x="11117" y="28500"/>
                    <a:pt x="11142" y="28500"/>
                  </a:cubicBezTo>
                  <a:cubicBezTo>
                    <a:pt x="11161" y="28500"/>
                    <a:pt x="11179" y="28501"/>
                    <a:pt x="11195" y="28505"/>
                  </a:cubicBezTo>
                  <a:cubicBezTo>
                    <a:pt x="11088" y="28784"/>
                    <a:pt x="10631" y="28978"/>
                    <a:pt x="10653" y="29241"/>
                  </a:cubicBezTo>
                  <a:cubicBezTo>
                    <a:pt x="10658" y="29278"/>
                    <a:pt x="10669" y="29316"/>
                    <a:pt x="10695" y="29354"/>
                  </a:cubicBezTo>
                  <a:cubicBezTo>
                    <a:pt x="10836" y="29585"/>
                    <a:pt x="10868" y="29853"/>
                    <a:pt x="10868" y="30138"/>
                  </a:cubicBezTo>
                  <a:cubicBezTo>
                    <a:pt x="10868" y="30171"/>
                    <a:pt x="10863" y="30208"/>
                    <a:pt x="10863" y="30245"/>
                  </a:cubicBezTo>
                  <a:cubicBezTo>
                    <a:pt x="10856" y="30386"/>
                    <a:pt x="10846" y="30530"/>
                    <a:pt x="10836" y="30676"/>
                  </a:cubicBezTo>
                  <a:cubicBezTo>
                    <a:pt x="10830" y="30788"/>
                    <a:pt x="10819" y="30895"/>
                    <a:pt x="10819" y="31003"/>
                  </a:cubicBezTo>
                  <a:lnTo>
                    <a:pt x="10819" y="31105"/>
                  </a:lnTo>
                  <a:cubicBezTo>
                    <a:pt x="10836" y="31631"/>
                    <a:pt x="11012" y="32094"/>
                    <a:pt x="11835" y="32308"/>
                  </a:cubicBezTo>
                  <a:cubicBezTo>
                    <a:pt x="11910" y="32330"/>
                    <a:pt x="11932" y="32545"/>
                    <a:pt x="11952" y="32771"/>
                  </a:cubicBezTo>
                  <a:cubicBezTo>
                    <a:pt x="11964" y="32910"/>
                    <a:pt x="11974" y="33055"/>
                    <a:pt x="11991" y="33163"/>
                  </a:cubicBezTo>
                  <a:cubicBezTo>
                    <a:pt x="12152" y="33307"/>
                    <a:pt x="12302" y="33409"/>
                    <a:pt x="12452" y="33469"/>
                  </a:cubicBezTo>
                  <a:cubicBezTo>
                    <a:pt x="12371" y="33689"/>
                    <a:pt x="12227" y="33813"/>
                    <a:pt x="12071" y="33882"/>
                  </a:cubicBezTo>
                  <a:cubicBezTo>
                    <a:pt x="12269" y="33989"/>
                    <a:pt x="12500" y="34076"/>
                    <a:pt x="12764" y="34076"/>
                  </a:cubicBezTo>
                  <a:cubicBezTo>
                    <a:pt x="12931" y="34076"/>
                    <a:pt x="13097" y="34038"/>
                    <a:pt x="13269" y="33974"/>
                  </a:cubicBezTo>
                  <a:cubicBezTo>
                    <a:pt x="13457" y="33904"/>
                    <a:pt x="13655" y="33791"/>
                    <a:pt x="13860" y="33635"/>
                  </a:cubicBezTo>
                  <a:cubicBezTo>
                    <a:pt x="13918" y="33592"/>
                    <a:pt x="13983" y="33555"/>
                    <a:pt x="14042" y="33512"/>
                  </a:cubicBezTo>
                  <a:cubicBezTo>
                    <a:pt x="15187" y="32700"/>
                    <a:pt x="16422" y="32288"/>
                    <a:pt x="17717" y="32288"/>
                  </a:cubicBezTo>
                  <a:cubicBezTo>
                    <a:pt x="18024" y="32288"/>
                    <a:pt x="18334" y="32313"/>
                    <a:pt x="18646" y="32362"/>
                  </a:cubicBezTo>
                  <a:lnTo>
                    <a:pt x="18517" y="32217"/>
                  </a:lnTo>
                  <a:cubicBezTo>
                    <a:pt x="18405" y="32099"/>
                    <a:pt x="18361" y="31938"/>
                    <a:pt x="18383" y="31787"/>
                  </a:cubicBezTo>
                  <a:lnTo>
                    <a:pt x="18383" y="31787"/>
                  </a:lnTo>
                  <a:cubicBezTo>
                    <a:pt x="18560" y="31804"/>
                    <a:pt x="18733" y="31825"/>
                    <a:pt x="18909" y="31857"/>
                  </a:cubicBezTo>
                  <a:cubicBezTo>
                    <a:pt x="18958" y="31804"/>
                    <a:pt x="19011" y="31750"/>
                    <a:pt x="19076" y="31713"/>
                  </a:cubicBezTo>
                  <a:cubicBezTo>
                    <a:pt x="19055" y="31535"/>
                    <a:pt x="19033" y="31358"/>
                    <a:pt x="19011" y="31185"/>
                  </a:cubicBezTo>
                  <a:cubicBezTo>
                    <a:pt x="19033" y="31180"/>
                    <a:pt x="19055" y="31175"/>
                    <a:pt x="19076" y="31175"/>
                  </a:cubicBezTo>
                  <a:cubicBezTo>
                    <a:pt x="19162" y="31175"/>
                    <a:pt x="19248" y="31197"/>
                    <a:pt x="19323" y="31239"/>
                  </a:cubicBezTo>
                  <a:cubicBezTo>
                    <a:pt x="19490" y="31326"/>
                    <a:pt x="19598" y="31497"/>
                    <a:pt x="19603" y="31685"/>
                  </a:cubicBezTo>
                  <a:cubicBezTo>
                    <a:pt x="19603" y="31675"/>
                    <a:pt x="19608" y="31658"/>
                    <a:pt x="19603" y="31643"/>
                  </a:cubicBezTo>
                  <a:cubicBezTo>
                    <a:pt x="19591" y="31557"/>
                    <a:pt x="19586" y="31465"/>
                    <a:pt x="19576" y="31373"/>
                  </a:cubicBezTo>
                  <a:cubicBezTo>
                    <a:pt x="19474" y="31288"/>
                    <a:pt x="19398" y="31143"/>
                    <a:pt x="19372" y="30885"/>
                  </a:cubicBezTo>
                  <a:cubicBezTo>
                    <a:pt x="19264" y="29806"/>
                    <a:pt x="19125" y="28735"/>
                    <a:pt x="18979" y="27661"/>
                  </a:cubicBezTo>
                  <a:cubicBezTo>
                    <a:pt x="19033" y="27656"/>
                    <a:pt x="19087" y="27651"/>
                    <a:pt x="19147" y="27640"/>
                  </a:cubicBezTo>
                  <a:cubicBezTo>
                    <a:pt x="19130" y="27543"/>
                    <a:pt x="19120" y="27453"/>
                    <a:pt x="19108" y="27356"/>
                  </a:cubicBezTo>
                  <a:cubicBezTo>
                    <a:pt x="19060" y="27361"/>
                    <a:pt x="19006" y="27366"/>
                    <a:pt x="18953" y="27371"/>
                  </a:cubicBezTo>
                  <a:cubicBezTo>
                    <a:pt x="18947" y="27371"/>
                    <a:pt x="18947" y="27377"/>
                    <a:pt x="18942" y="27377"/>
                  </a:cubicBezTo>
                  <a:cubicBezTo>
                    <a:pt x="18765" y="26104"/>
                    <a:pt x="18572" y="24830"/>
                    <a:pt x="18383" y="23558"/>
                  </a:cubicBezTo>
                  <a:cubicBezTo>
                    <a:pt x="17932" y="20458"/>
                    <a:pt x="18190" y="17357"/>
                    <a:pt x="18334" y="14258"/>
                  </a:cubicBezTo>
                  <a:cubicBezTo>
                    <a:pt x="18421" y="13586"/>
                    <a:pt x="18453" y="12915"/>
                    <a:pt x="18453" y="12244"/>
                  </a:cubicBezTo>
                  <a:cubicBezTo>
                    <a:pt x="18453" y="11572"/>
                    <a:pt x="18421" y="10900"/>
                    <a:pt x="18388" y="10229"/>
                  </a:cubicBezTo>
                  <a:cubicBezTo>
                    <a:pt x="18388" y="7258"/>
                    <a:pt x="18410" y="4287"/>
                    <a:pt x="18383" y="1317"/>
                  </a:cubicBezTo>
                  <a:cubicBezTo>
                    <a:pt x="18378" y="967"/>
                    <a:pt x="18405" y="715"/>
                    <a:pt x="18544" y="543"/>
                  </a:cubicBezTo>
                  <a:cubicBezTo>
                    <a:pt x="18490" y="414"/>
                    <a:pt x="18416" y="290"/>
                    <a:pt x="18309" y="183"/>
                  </a:cubicBezTo>
                  <a:cubicBezTo>
                    <a:pt x="18281" y="156"/>
                    <a:pt x="18249" y="134"/>
                    <a:pt x="18222" y="113"/>
                  </a:cubicBezTo>
                  <a:cubicBezTo>
                    <a:pt x="18173" y="70"/>
                    <a:pt x="18115" y="38"/>
                    <a:pt x="18061"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S</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79" name="Google Shape;1177;p29">
              <a:extLst>
                <a:ext uri="{FF2B5EF4-FFF2-40B4-BE49-F238E27FC236}">
                  <a16:creationId xmlns:a16="http://schemas.microsoft.com/office/drawing/2014/main" id="{CBFD28F4-16A8-55DE-C37D-BFD8AF1952D9}"/>
                </a:ext>
              </a:extLst>
            </p:cNvPr>
            <p:cNvSpPr/>
            <p:nvPr/>
          </p:nvSpPr>
          <p:spPr>
            <a:xfrm>
              <a:off x="5601600" y="2410275"/>
              <a:ext cx="1027825" cy="589500"/>
            </a:xfrm>
            <a:custGeom>
              <a:avLst/>
              <a:gdLst/>
              <a:ahLst/>
              <a:cxnLst/>
              <a:rect l="l" t="t" r="r" b="b"/>
              <a:pathLst>
                <a:path w="41113" h="23580" extrusionOk="0">
                  <a:moveTo>
                    <a:pt x="37686" y="14398"/>
                  </a:moveTo>
                  <a:lnTo>
                    <a:pt x="37686" y="14398"/>
                  </a:lnTo>
                  <a:cubicBezTo>
                    <a:pt x="37648" y="14420"/>
                    <a:pt x="37611" y="14446"/>
                    <a:pt x="37574" y="14478"/>
                  </a:cubicBezTo>
                  <a:cubicBezTo>
                    <a:pt x="37547" y="14500"/>
                    <a:pt x="37530" y="14510"/>
                    <a:pt x="37525" y="14517"/>
                  </a:cubicBezTo>
                  <a:cubicBezTo>
                    <a:pt x="37514" y="14510"/>
                    <a:pt x="37503" y="14505"/>
                    <a:pt x="37487" y="14495"/>
                  </a:cubicBezTo>
                  <a:cubicBezTo>
                    <a:pt x="37509" y="14485"/>
                    <a:pt x="37643" y="14420"/>
                    <a:pt x="37686" y="14398"/>
                  </a:cubicBezTo>
                  <a:close/>
                  <a:moveTo>
                    <a:pt x="24218" y="0"/>
                  </a:moveTo>
                  <a:cubicBezTo>
                    <a:pt x="23944" y="855"/>
                    <a:pt x="23637" y="1704"/>
                    <a:pt x="23632" y="2616"/>
                  </a:cubicBezTo>
                  <a:cubicBezTo>
                    <a:pt x="23632" y="2745"/>
                    <a:pt x="23610" y="2859"/>
                    <a:pt x="23568" y="2961"/>
                  </a:cubicBezTo>
                  <a:cubicBezTo>
                    <a:pt x="23449" y="3261"/>
                    <a:pt x="23171" y="3449"/>
                    <a:pt x="22908" y="3648"/>
                  </a:cubicBezTo>
                  <a:cubicBezTo>
                    <a:pt x="22843" y="3858"/>
                    <a:pt x="22826" y="4094"/>
                    <a:pt x="22574" y="4186"/>
                  </a:cubicBezTo>
                  <a:cubicBezTo>
                    <a:pt x="22553" y="4736"/>
                    <a:pt x="22365" y="4877"/>
                    <a:pt x="22119" y="4877"/>
                  </a:cubicBezTo>
                  <a:cubicBezTo>
                    <a:pt x="21861" y="4877"/>
                    <a:pt x="21538" y="4722"/>
                    <a:pt x="21280" y="4722"/>
                  </a:cubicBezTo>
                  <a:cubicBezTo>
                    <a:pt x="21265" y="4722"/>
                    <a:pt x="21251" y="4722"/>
                    <a:pt x="21237" y="4723"/>
                  </a:cubicBezTo>
                  <a:cubicBezTo>
                    <a:pt x="21021" y="5550"/>
                    <a:pt x="20877" y="6404"/>
                    <a:pt x="20575" y="7200"/>
                  </a:cubicBezTo>
                  <a:cubicBezTo>
                    <a:pt x="20412" y="7627"/>
                    <a:pt x="20199" y="7834"/>
                    <a:pt x="19968" y="7834"/>
                  </a:cubicBezTo>
                  <a:cubicBezTo>
                    <a:pt x="19773" y="7834"/>
                    <a:pt x="19566" y="7686"/>
                    <a:pt x="19367" y="7399"/>
                  </a:cubicBezTo>
                  <a:cubicBezTo>
                    <a:pt x="19290" y="7444"/>
                    <a:pt x="19223" y="7463"/>
                    <a:pt x="19165" y="7463"/>
                  </a:cubicBezTo>
                  <a:cubicBezTo>
                    <a:pt x="18990" y="7463"/>
                    <a:pt x="18892" y="7289"/>
                    <a:pt x="18787" y="7136"/>
                  </a:cubicBezTo>
                  <a:cubicBezTo>
                    <a:pt x="18690" y="7081"/>
                    <a:pt x="18599" y="7027"/>
                    <a:pt x="18502" y="6974"/>
                  </a:cubicBezTo>
                  <a:cubicBezTo>
                    <a:pt x="17793" y="7892"/>
                    <a:pt x="17862" y="9063"/>
                    <a:pt x="17503" y="10095"/>
                  </a:cubicBezTo>
                  <a:cubicBezTo>
                    <a:pt x="17347" y="10535"/>
                    <a:pt x="17352" y="11041"/>
                    <a:pt x="16970" y="11384"/>
                  </a:cubicBezTo>
                  <a:cubicBezTo>
                    <a:pt x="16940" y="11523"/>
                    <a:pt x="16921" y="11672"/>
                    <a:pt x="16751" y="11672"/>
                  </a:cubicBezTo>
                  <a:cubicBezTo>
                    <a:pt x="16738" y="11672"/>
                    <a:pt x="16723" y="11671"/>
                    <a:pt x="16707" y="11669"/>
                  </a:cubicBezTo>
                  <a:lnTo>
                    <a:pt x="16707" y="11669"/>
                  </a:lnTo>
                  <a:cubicBezTo>
                    <a:pt x="16739" y="12132"/>
                    <a:pt x="16525" y="12469"/>
                    <a:pt x="16159" y="12727"/>
                  </a:cubicBezTo>
                  <a:cubicBezTo>
                    <a:pt x="15939" y="13260"/>
                    <a:pt x="16605" y="13791"/>
                    <a:pt x="16171" y="14317"/>
                  </a:cubicBezTo>
                  <a:cubicBezTo>
                    <a:pt x="16256" y="14597"/>
                    <a:pt x="16127" y="14763"/>
                    <a:pt x="15886" y="14871"/>
                  </a:cubicBezTo>
                  <a:lnTo>
                    <a:pt x="15901" y="14850"/>
                  </a:lnTo>
                  <a:lnTo>
                    <a:pt x="15901" y="14850"/>
                  </a:lnTo>
                  <a:cubicBezTo>
                    <a:pt x="15810" y="14946"/>
                    <a:pt x="15720" y="15043"/>
                    <a:pt x="15623" y="15135"/>
                  </a:cubicBezTo>
                  <a:cubicBezTo>
                    <a:pt x="15606" y="15187"/>
                    <a:pt x="15574" y="15236"/>
                    <a:pt x="15531" y="15274"/>
                  </a:cubicBezTo>
                  <a:cubicBezTo>
                    <a:pt x="14607" y="15703"/>
                    <a:pt x="13516" y="15817"/>
                    <a:pt x="12909" y="16843"/>
                  </a:cubicBezTo>
                  <a:cubicBezTo>
                    <a:pt x="12883" y="16885"/>
                    <a:pt x="12851" y="16923"/>
                    <a:pt x="12819" y="16960"/>
                  </a:cubicBezTo>
                  <a:cubicBezTo>
                    <a:pt x="12571" y="17208"/>
                    <a:pt x="12109" y="17272"/>
                    <a:pt x="11711" y="17294"/>
                  </a:cubicBezTo>
                  <a:cubicBezTo>
                    <a:pt x="11568" y="17429"/>
                    <a:pt x="11454" y="17481"/>
                    <a:pt x="11358" y="17481"/>
                  </a:cubicBezTo>
                  <a:cubicBezTo>
                    <a:pt x="11128" y="17481"/>
                    <a:pt x="11000" y="17184"/>
                    <a:pt x="10830" y="17009"/>
                  </a:cubicBezTo>
                  <a:cubicBezTo>
                    <a:pt x="10649" y="17179"/>
                    <a:pt x="10473" y="17351"/>
                    <a:pt x="10298" y="17521"/>
                  </a:cubicBezTo>
                  <a:lnTo>
                    <a:pt x="10298" y="17521"/>
                  </a:lnTo>
                  <a:cubicBezTo>
                    <a:pt x="10298" y="17520"/>
                    <a:pt x="10298" y="17520"/>
                    <a:pt x="10298" y="17520"/>
                  </a:cubicBezTo>
                  <a:lnTo>
                    <a:pt x="10298" y="17520"/>
                  </a:lnTo>
                  <a:lnTo>
                    <a:pt x="10277" y="17540"/>
                  </a:lnTo>
                  <a:cubicBezTo>
                    <a:pt x="10284" y="17534"/>
                    <a:pt x="10291" y="17527"/>
                    <a:pt x="10298" y="17521"/>
                  </a:cubicBezTo>
                  <a:lnTo>
                    <a:pt x="10298" y="17521"/>
                  </a:lnTo>
                  <a:cubicBezTo>
                    <a:pt x="10223" y="17724"/>
                    <a:pt x="10103" y="17840"/>
                    <a:pt x="9923" y="17840"/>
                  </a:cubicBezTo>
                  <a:cubicBezTo>
                    <a:pt x="9871" y="17840"/>
                    <a:pt x="9813" y="17831"/>
                    <a:pt x="9750" y="17810"/>
                  </a:cubicBezTo>
                  <a:cubicBezTo>
                    <a:pt x="9585" y="18004"/>
                    <a:pt x="9421" y="18087"/>
                    <a:pt x="9257" y="18087"/>
                  </a:cubicBezTo>
                  <a:cubicBezTo>
                    <a:pt x="9067" y="18087"/>
                    <a:pt x="8879" y="17977"/>
                    <a:pt x="8693" y="17805"/>
                  </a:cubicBezTo>
                  <a:cubicBezTo>
                    <a:pt x="8547" y="17772"/>
                    <a:pt x="8327" y="17810"/>
                    <a:pt x="8396" y="17552"/>
                  </a:cubicBezTo>
                  <a:lnTo>
                    <a:pt x="8396" y="17552"/>
                  </a:lnTo>
                  <a:cubicBezTo>
                    <a:pt x="8328" y="17584"/>
                    <a:pt x="8266" y="17598"/>
                    <a:pt x="8211" y="17598"/>
                  </a:cubicBezTo>
                  <a:cubicBezTo>
                    <a:pt x="8016" y="17598"/>
                    <a:pt x="7893" y="17426"/>
                    <a:pt x="7763" y="17267"/>
                  </a:cubicBezTo>
                  <a:cubicBezTo>
                    <a:pt x="7617" y="17116"/>
                    <a:pt x="7473" y="16967"/>
                    <a:pt x="7333" y="16816"/>
                  </a:cubicBezTo>
                  <a:lnTo>
                    <a:pt x="6801" y="16767"/>
                  </a:lnTo>
                  <a:cubicBezTo>
                    <a:pt x="6806" y="16746"/>
                    <a:pt x="6806" y="16724"/>
                    <a:pt x="6806" y="16709"/>
                  </a:cubicBezTo>
                  <a:cubicBezTo>
                    <a:pt x="6839" y="16573"/>
                    <a:pt x="6839" y="16493"/>
                    <a:pt x="6834" y="16456"/>
                  </a:cubicBezTo>
                  <a:cubicBezTo>
                    <a:pt x="6806" y="16451"/>
                    <a:pt x="6752" y="16439"/>
                    <a:pt x="6667" y="16439"/>
                  </a:cubicBezTo>
                  <a:cubicBezTo>
                    <a:pt x="6591" y="16439"/>
                    <a:pt x="6516" y="16419"/>
                    <a:pt x="6447" y="16386"/>
                  </a:cubicBezTo>
                  <a:cubicBezTo>
                    <a:pt x="6404" y="16568"/>
                    <a:pt x="6269" y="16751"/>
                    <a:pt x="6108" y="16891"/>
                  </a:cubicBezTo>
                  <a:cubicBezTo>
                    <a:pt x="5792" y="17154"/>
                    <a:pt x="5522" y="17466"/>
                    <a:pt x="5232" y="17756"/>
                  </a:cubicBezTo>
                  <a:cubicBezTo>
                    <a:pt x="5130" y="17788"/>
                    <a:pt x="5061" y="17874"/>
                    <a:pt x="4996" y="17976"/>
                  </a:cubicBezTo>
                  <a:cubicBezTo>
                    <a:pt x="4969" y="18003"/>
                    <a:pt x="4942" y="18030"/>
                    <a:pt x="4915" y="18051"/>
                  </a:cubicBezTo>
                  <a:cubicBezTo>
                    <a:pt x="4776" y="18170"/>
                    <a:pt x="4642" y="18282"/>
                    <a:pt x="4502" y="18400"/>
                  </a:cubicBezTo>
                  <a:cubicBezTo>
                    <a:pt x="4496" y="18406"/>
                    <a:pt x="4491" y="18406"/>
                    <a:pt x="4486" y="18411"/>
                  </a:cubicBezTo>
                  <a:cubicBezTo>
                    <a:pt x="3739" y="19045"/>
                    <a:pt x="2998" y="19717"/>
                    <a:pt x="2703" y="20662"/>
                  </a:cubicBezTo>
                  <a:lnTo>
                    <a:pt x="2703" y="20673"/>
                  </a:lnTo>
                  <a:cubicBezTo>
                    <a:pt x="2294" y="21108"/>
                    <a:pt x="1880" y="21517"/>
                    <a:pt x="1381" y="21860"/>
                  </a:cubicBezTo>
                  <a:cubicBezTo>
                    <a:pt x="972" y="22139"/>
                    <a:pt x="580" y="22397"/>
                    <a:pt x="280" y="22784"/>
                  </a:cubicBezTo>
                  <a:cubicBezTo>
                    <a:pt x="188" y="22827"/>
                    <a:pt x="97" y="22859"/>
                    <a:pt x="5" y="22898"/>
                  </a:cubicBezTo>
                  <a:cubicBezTo>
                    <a:pt x="0" y="22983"/>
                    <a:pt x="16" y="23069"/>
                    <a:pt x="59" y="23161"/>
                  </a:cubicBezTo>
                  <a:cubicBezTo>
                    <a:pt x="97" y="23252"/>
                    <a:pt x="151" y="23327"/>
                    <a:pt x="204" y="23396"/>
                  </a:cubicBezTo>
                  <a:cubicBezTo>
                    <a:pt x="268" y="23471"/>
                    <a:pt x="344" y="23531"/>
                    <a:pt x="419" y="23580"/>
                  </a:cubicBezTo>
                  <a:cubicBezTo>
                    <a:pt x="2509" y="23246"/>
                    <a:pt x="4593" y="22923"/>
                    <a:pt x="6710" y="22827"/>
                  </a:cubicBezTo>
                  <a:cubicBezTo>
                    <a:pt x="6929" y="22819"/>
                    <a:pt x="7208" y="22660"/>
                    <a:pt x="7442" y="22660"/>
                  </a:cubicBezTo>
                  <a:cubicBezTo>
                    <a:pt x="7528" y="22660"/>
                    <a:pt x="7608" y="22682"/>
                    <a:pt x="7677" y="22742"/>
                  </a:cubicBezTo>
                  <a:cubicBezTo>
                    <a:pt x="7880" y="22709"/>
                    <a:pt x="8091" y="22677"/>
                    <a:pt x="8294" y="22645"/>
                  </a:cubicBezTo>
                  <a:cubicBezTo>
                    <a:pt x="8450" y="22397"/>
                    <a:pt x="8725" y="22253"/>
                    <a:pt x="9149" y="22241"/>
                  </a:cubicBezTo>
                  <a:cubicBezTo>
                    <a:pt x="12877" y="22150"/>
                    <a:pt x="16519" y="21334"/>
                    <a:pt x="20210" y="20877"/>
                  </a:cubicBezTo>
                  <a:cubicBezTo>
                    <a:pt x="26426" y="20104"/>
                    <a:pt x="32518" y="18701"/>
                    <a:pt x="38599" y="17257"/>
                  </a:cubicBezTo>
                  <a:cubicBezTo>
                    <a:pt x="38793" y="17211"/>
                    <a:pt x="38970" y="17191"/>
                    <a:pt x="39133" y="17191"/>
                  </a:cubicBezTo>
                  <a:cubicBezTo>
                    <a:pt x="39340" y="17191"/>
                    <a:pt x="39524" y="17223"/>
                    <a:pt x="39695" y="17277"/>
                  </a:cubicBezTo>
                  <a:cubicBezTo>
                    <a:pt x="39749" y="17267"/>
                    <a:pt x="39808" y="17262"/>
                    <a:pt x="39862" y="17250"/>
                  </a:cubicBezTo>
                  <a:cubicBezTo>
                    <a:pt x="40056" y="17218"/>
                    <a:pt x="40286" y="17181"/>
                    <a:pt x="40501" y="17079"/>
                  </a:cubicBezTo>
                  <a:cubicBezTo>
                    <a:pt x="40657" y="17004"/>
                    <a:pt x="40807" y="16896"/>
                    <a:pt x="40920" y="16724"/>
                  </a:cubicBezTo>
                  <a:cubicBezTo>
                    <a:pt x="41081" y="16466"/>
                    <a:pt x="41113" y="16144"/>
                    <a:pt x="41006" y="15762"/>
                  </a:cubicBezTo>
                  <a:lnTo>
                    <a:pt x="40963" y="15601"/>
                  </a:lnTo>
                  <a:cubicBezTo>
                    <a:pt x="40818" y="15053"/>
                    <a:pt x="40544" y="14033"/>
                    <a:pt x="39352" y="14033"/>
                  </a:cubicBezTo>
                  <a:cubicBezTo>
                    <a:pt x="39276" y="14033"/>
                    <a:pt x="39191" y="14039"/>
                    <a:pt x="39109" y="14044"/>
                  </a:cubicBezTo>
                  <a:cubicBezTo>
                    <a:pt x="39040" y="14054"/>
                    <a:pt x="38970" y="14059"/>
                    <a:pt x="38900" y="14066"/>
                  </a:cubicBezTo>
                  <a:cubicBezTo>
                    <a:pt x="38573" y="14091"/>
                    <a:pt x="38212" y="14124"/>
                    <a:pt x="37864" y="14296"/>
                  </a:cubicBezTo>
                  <a:lnTo>
                    <a:pt x="37864" y="14296"/>
                  </a:lnTo>
                  <a:cubicBezTo>
                    <a:pt x="38057" y="14173"/>
                    <a:pt x="38229" y="14001"/>
                    <a:pt x="38251" y="13732"/>
                  </a:cubicBezTo>
                  <a:cubicBezTo>
                    <a:pt x="38271" y="13485"/>
                    <a:pt x="38196" y="13253"/>
                    <a:pt x="38040" y="13077"/>
                  </a:cubicBezTo>
                  <a:cubicBezTo>
                    <a:pt x="37847" y="12861"/>
                    <a:pt x="37557" y="12744"/>
                    <a:pt x="37192" y="12732"/>
                  </a:cubicBezTo>
                  <a:cubicBezTo>
                    <a:pt x="37148" y="12727"/>
                    <a:pt x="37106" y="12722"/>
                    <a:pt x="37063" y="12705"/>
                  </a:cubicBezTo>
                  <a:cubicBezTo>
                    <a:pt x="37170" y="12539"/>
                    <a:pt x="37224" y="12362"/>
                    <a:pt x="37257" y="12249"/>
                  </a:cubicBezTo>
                  <a:cubicBezTo>
                    <a:pt x="37262" y="12228"/>
                    <a:pt x="37267" y="12201"/>
                    <a:pt x="37277" y="12174"/>
                  </a:cubicBezTo>
                  <a:lnTo>
                    <a:pt x="37353" y="12174"/>
                  </a:lnTo>
                  <a:cubicBezTo>
                    <a:pt x="37981" y="12174"/>
                    <a:pt x="38186" y="11755"/>
                    <a:pt x="38256" y="11508"/>
                  </a:cubicBezTo>
                  <a:cubicBezTo>
                    <a:pt x="38298" y="11326"/>
                    <a:pt x="38234" y="11121"/>
                    <a:pt x="38110" y="10987"/>
                  </a:cubicBezTo>
                  <a:cubicBezTo>
                    <a:pt x="37380" y="10213"/>
                    <a:pt x="37380" y="10213"/>
                    <a:pt x="37438" y="8661"/>
                  </a:cubicBezTo>
                  <a:cubicBezTo>
                    <a:pt x="37455" y="8215"/>
                    <a:pt x="37289" y="7898"/>
                    <a:pt x="36912" y="7662"/>
                  </a:cubicBezTo>
                  <a:cubicBezTo>
                    <a:pt x="36697" y="7533"/>
                    <a:pt x="36478" y="7419"/>
                    <a:pt x="36252" y="7312"/>
                  </a:cubicBezTo>
                  <a:cubicBezTo>
                    <a:pt x="35988" y="7270"/>
                    <a:pt x="35725" y="7141"/>
                    <a:pt x="35504" y="7032"/>
                  </a:cubicBezTo>
                  <a:cubicBezTo>
                    <a:pt x="35253" y="6910"/>
                    <a:pt x="34989" y="6818"/>
                    <a:pt x="34726" y="6732"/>
                  </a:cubicBezTo>
                  <a:cubicBezTo>
                    <a:pt x="34646" y="6732"/>
                    <a:pt x="34564" y="6732"/>
                    <a:pt x="34484" y="6737"/>
                  </a:cubicBezTo>
                  <a:cubicBezTo>
                    <a:pt x="34334" y="6742"/>
                    <a:pt x="34183" y="6749"/>
                    <a:pt x="34033" y="6749"/>
                  </a:cubicBezTo>
                  <a:cubicBezTo>
                    <a:pt x="33448" y="6749"/>
                    <a:pt x="32781" y="6673"/>
                    <a:pt x="32191" y="6201"/>
                  </a:cubicBezTo>
                  <a:cubicBezTo>
                    <a:pt x="32169" y="6216"/>
                    <a:pt x="32152" y="6238"/>
                    <a:pt x="32142" y="6254"/>
                  </a:cubicBezTo>
                  <a:cubicBezTo>
                    <a:pt x="32131" y="6276"/>
                    <a:pt x="32120" y="6291"/>
                    <a:pt x="32110" y="6308"/>
                  </a:cubicBezTo>
                  <a:cubicBezTo>
                    <a:pt x="31954" y="6233"/>
                    <a:pt x="31792" y="6152"/>
                    <a:pt x="31636" y="6060"/>
                  </a:cubicBezTo>
                  <a:cubicBezTo>
                    <a:pt x="31643" y="6055"/>
                    <a:pt x="31648" y="6045"/>
                    <a:pt x="31653" y="6033"/>
                  </a:cubicBezTo>
                  <a:lnTo>
                    <a:pt x="31653" y="6033"/>
                  </a:lnTo>
                  <a:cubicBezTo>
                    <a:pt x="31252" y="6204"/>
                    <a:pt x="31003" y="6302"/>
                    <a:pt x="30846" y="6302"/>
                  </a:cubicBezTo>
                  <a:cubicBezTo>
                    <a:pt x="30619" y="6302"/>
                    <a:pt x="30590" y="6094"/>
                    <a:pt x="30584" y="5604"/>
                  </a:cubicBezTo>
                  <a:cubicBezTo>
                    <a:pt x="30579" y="5073"/>
                    <a:pt x="30540" y="4508"/>
                    <a:pt x="31105" y="4186"/>
                  </a:cubicBezTo>
                  <a:cubicBezTo>
                    <a:pt x="31030" y="3923"/>
                    <a:pt x="31083" y="3724"/>
                    <a:pt x="31373" y="3643"/>
                  </a:cubicBezTo>
                  <a:cubicBezTo>
                    <a:pt x="31331" y="3402"/>
                    <a:pt x="31385" y="3203"/>
                    <a:pt x="31636" y="3112"/>
                  </a:cubicBezTo>
                  <a:cubicBezTo>
                    <a:pt x="31631" y="2939"/>
                    <a:pt x="31626" y="2762"/>
                    <a:pt x="31616" y="2591"/>
                  </a:cubicBezTo>
                  <a:cubicBezTo>
                    <a:pt x="31433" y="2353"/>
                    <a:pt x="31212" y="2182"/>
                    <a:pt x="30976" y="2043"/>
                  </a:cubicBezTo>
                  <a:cubicBezTo>
                    <a:pt x="30262" y="1629"/>
                    <a:pt x="29380" y="1532"/>
                    <a:pt x="28698" y="1059"/>
                  </a:cubicBezTo>
                  <a:cubicBezTo>
                    <a:pt x="28284" y="860"/>
                    <a:pt x="28537" y="468"/>
                    <a:pt x="28440" y="178"/>
                  </a:cubicBezTo>
                  <a:cubicBezTo>
                    <a:pt x="28357" y="163"/>
                    <a:pt x="28282" y="156"/>
                    <a:pt x="28214" y="156"/>
                  </a:cubicBezTo>
                  <a:cubicBezTo>
                    <a:pt x="28060" y="156"/>
                    <a:pt x="27941" y="193"/>
                    <a:pt x="27844" y="263"/>
                  </a:cubicBezTo>
                  <a:cubicBezTo>
                    <a:pt x="27672" y="392"/>
                    <a:pt x="27575" y="624"/>
                    <a:pt x="27505" y="935"/>
                  </a:cubicBezTo>
                  <a:cubicBezTo>
                    <a:pt x="27437" y="1273"/>
                    <a:pt x="27286" y="1531"/>
                    <a:pt x="27051" y="1531"/>
                  </a:cubicBezTo>
                  <a:cubicBezTo>
                    <a:pt x="26919" y="1531"/>
                    <a:pt x="26761" y="1450"/>
                    <a:pt x="26576" y="1258"/>
                  </a:cubicBezTo>
                  <a:cubicBezTo>
                    <a:pt x="26512" y="1277"/>
                    <a:pt x="26454" y="1286"/>
                    <a:pt x="26400" y="1286"/>
                  </a:cubicBezTo>
                  <a:cubicBezTo>
                    <a:pt x="26226" y="1286"/>
                    <a:pt x="26103" y="1186"/>
                    <a:pt x="26034" y="989"/>
                  </a:cubicBezTo>
                  <a:cubicBezTo>
                    <a:pt x="25873" y="967"/>
                    <a:pt x="25722" y="940"/>
                    <a:pt x="25754" y="726"/>
                  </a:cubicBezTo>
                  <a:lnTo>
                    <a:pt x="25754" y="726"/>
                  </a:lnTo>
                  <a:cubicBezTo>
                    <a:pt x="25698" y="743"/>
                    <a:pt x="25645" y="751"/>
                    <a:pt x="25597" y="751"/>
                  </a:cubicBezTo>
                  <a:cubicBezTo>
                    <a:pt x="25425" y="751"/>
                    <a:pt x="25305" y="649"/>
                    <a:pt x="25234" y="452"/>
                  </a:cubicBezTo>
                  <a:cubicBezTo>
                    <a:pt x="25072" y="436"/>
                    <a:pt x="24922" y="409"/>
                    <a:pt x="24954" y="194"/>
                  </a:cubicBezTo>
                  <a:lnTo>
                    <a:pt x="24954" y="194"/>
                  </a:lnTo>
                  <a:cubicBezTo>
                    <a:pt x="24903" y="210"/>
                    <a:pt x="24855" y="217"/>
                    <a:pt x="24809" y="217"/>
                  </a:cubicBezTo>
                  <a:cubicBezTo>
                    <a:pt x="24594" y="217"/>
                    <a:pt x="24417" y="67"/>
                    <a:pt x="24218" y="0"/>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VA</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80" name="Google Shape;1178;p29">
              <a:extLst>
                <a:ext uri="{FF2B5EF4-FFF2-40B4-BE49-F238E27FC236}">
                  <a16:creationId xmlns:a16="http://schemas.microsoft.com/office/drawing/2014/main" id="{1626EE4A-CAF5-1758-B7E8-A2F74D01BA01}"/>
                </a:ext>
              </a:extLst>
            </p:cNvPr>
            <p:cNvSpPr/>
            <p:nvPr/>
          </p:nvSpPr>
          <p:spPr>
            <a:xfrm>
              <a:off x="6044250" y="2292225"/>
              <a:ext cx="637175" cy="308675"/>
            </a:xfrm>
            <a:custGeom>
              <a:avLst/>
              <a:gdLst/>
              <a:ahLst/>
              <a:cxnLst/>
              <a:rect l="l" t="t" r="r" b="b"/>
              <a:pathLst>
                <a:path w="25487" h="12347" extrusionOk="0">
                  <a:moveTo>
                    <a:pt x="18825" y="1"/>
                  </a:moveTo>
                  <a:cubicBezTo>
                    <a:pt x="18658" y="118"/>
                    <a:pt x="18417" y="76"/>
                    <a:pt x="18207" y="113"/>
                  </a:cubicBezTo>
                  <a:cubicBezTo>
                    <a:pt x="16628" y="420"/>
                    <a:pt x="14984" y="344"/>
                    <a:pt x="13447" y="898"/>
                  </a:cubicBezTo>
                  <a:cubicBezTo>
                    <a:pt x="12378" y="1124"/>
                    <a:pt x="11309" y="1360"/>
                    <a:pt x="10240" y="1564"/>
                  </a:cubicBezTo>
                  <a:cubicBezTo>
                    <a:pt x="9456" y="1714"/>
                    <a:pt x="8676" y="1876"/>
                    <a:pt x="7903" y="2047"/>
                  </a:cubicBezTo>
                  <a:cubicBezTo>
                    <a:pt x="7511" y="2133"/>
                    <a:pt x="7124" y="2220"/>
                    <a:pt x="6737" y="2305"/>
                  </a:cubicBezTo>
                  <a:cubicBezTo>
                    <a:pt x="4793" y="2736"/>
                    <a:pt x="2849" y="3143"/>
                    <a:pt x="855" y="3326"/>
                  </a:cubicBezTo>
                  <a:cubicBezTo>
                    <a:pt x="608" y="3363"/>
                    <a:pt x="355" y="3401"/>
                    <a:pt x="102" y="3438"/>
                  </a:cubicBezTo>
                  <a:cubicBezTo>
                    <a:pt x="65" y="3509"/>
                    <a:pt x="33" y="3579"/>
                    <a:pt x="0" y="3654"/>
                  </a:cubicBezTo>
                  <a:cubicBezTo>
                    <a:pt x="173" y="3772"/>
                    <a:pt x="302" y="3933"/>
                    <a:pt x="404" y="4110"/>
                  </a:cubicBezTo>
                  <a:cubicBezTo>
                    <a:pt x="167" y="4938"/>
                    <a:pt x="425" y="5980"/>
                    <a:pt x="1123" y="6485"/>
                  </a:cubicBezTo>
                  <a:cubicBezTo>
                    <a:pt x="1257" y="6316"/>
                    <a:pt x="1416" y="6207"/>
                    <a:pt x="1621" y="6207"/>
                  </a:cubicBezTo>
                  <a:cubicBezTo>
                    <a:pt x="1670" y="6207"/>
                    <a:pt x="1723" y="6213"/>
                    <a:pt x="1778" y="6227"/>
                  </a:cubicBezTo>
                  <a:cubicBezTo>
                    <a:pt x="2326" y="5674"/>
                    <a:pt x="2945" y="5169"/>
                    <a:pt x="3412" y="4546"/>
                  </a:cubicBezTo>
                  <a:cubicBezTo>
                    <a:pt x="3471" y="4465"/>
                    <a:pt x="3536" y="4390"/>
                    <a:pt x="3600" y="4320"/>
                  </a:cubicBezTo>
                  <a:cubicBezTo>
                    <a:pt x="3850" y="4068"/>
                    <a:pt x="4108" y="3951"/>
                    <a:pt x="4389" y="3951"/>
                  </a:cubicBezTo>
                  <a:cubicBezTo>
                    <a:pt x="4616" y="3951"/>
                    <a:pt x="4859" y="4028"/>
                    <a:pt x="5126" y="4169"/>
                  </a:cubicBezTo>
                  <a:cubicBezTo>
                    <a:pt x="5088" y="3954"/>
                    <a:pt x="5180" y="3842"/>
                    <a:pt x="5378" y="3815"/>
                  </a:cubicBezTo>
                  <a:cubicBezTo>
                    <a:pt x="5395" y="3647"/>
                    <a:pt x="5482" y="3556"/>
                    <a:pt x="5657" y="3547"/>
                  </a:cubicBezTo>
                  <a:lnTo>
                    <a:pt x="5657" y="3547"/>
                  </a:lnTo>
                  <a:cubicBezTo>
                    <a:pt x="5652" y="3552"/>
                    <a:pt x="5647" y="3557"/>
                    <a:pt x="5641" y="3562"/>
                  </a:cubicBezTo>
                  <a:lnTo>
                    <a:pt x="5668" y="3547"/>
                  </a:lnTo>
                  <a:lnTo>
                    <a:pt x="5668" y="3547"/>
                  </a:lnTo>
                  <a:cubicBezTo>
                    <a:pt x="5665" y="3547"/>
                    <a:pt x="5661" y="3547"/>
                    <a:pt x="5657" y="3547"/>
                  </a:cubicBezTo>
                  <a:lnTo>
                    <a:pt x="5657" y="3547"/>
                  </a:lnTo>
                  <a:cubicBezTo>
                    <a:pt x="6391" y="2852"/>
                    <a:pt x="7304" y="2778"/>
                    <a:pt x="8252" y="2751"/>
                  </a:cubicBezTo>
                  <a:cubicBezTo>
                    <a:pt x="8262" y="2751"/>
                    <a:pt x="8271" y="2751"/>
                    <a:pt x="8280" y="2751"/>
                  </a:cubicBezTo>
                  <a:cubicBezTo>
                    <a:pt x="8878" y="2751"/>
                    <a:pt x="8945" y="3075"/>
                    <a:pt x="8887" y="3535"/>
                  </a:cubicBezTo>
                  <a:cubicBezTo>
                    <a:pt x="8947" y="3516"/>
                    <a:pt x="9003" y="3506"/>
                    <a:pt x="9053" y="3506"/>
                  </a:cubicBezTo>
                  <a:cubicBezTo>
                    <a:pt x="9228" y="3506"/>
                    <a:pt x="9345" y="3617"/>
                    <a:pt x="9407" y="3825"/>
                  </a:cubicBezTo>
                  <a:cubicBezTo>
                    <a:pt x="9623" y="4046"/>
                    <a:pt x="9784" y="4288"/>
                    <a:pt x="9692" y="4615"/>
                  </a:cubicBezTo>
                  <a:cubicBezTo>
                    <a:pt x="9736" y="4623"/>
                    <a:pt x="9782" y="4626"/>
                    <a:pt x="9828" y="4626"/>
                  </a:cubicBezTo>
                  <a:cubicBezTo>
                    <a:pt x="9947" y="4626"/>
                    <a:pt x="10072" y="4607"/>
                    <a:pt x="10191" y="4599"/>
                  </a:cubicBezTo>
                  <a:lnTo>
                    <a:pt x="10191" y="4599"/>
                  </a:lnTo>
                  <a:cubicBezTo>
                    <a:pt x="10198" y="4663"/>
                    <a:pt x="10191" y="4728"/>
                    <a:pt x="10171" y="4787"/>
                  </a:cubicBezTo>
                  <a:cubicBezTo>
                    <a:pt x="10154" y="4841"/>
                    <a:pt x="10144" y="4911"/>
                    <a:pt x="10138" y="4985"/>
                  </a:cubicBezTo>
                  <a:cubicBezTo>
                    <a:pt x="10235" y="4915"/>
                    <a:pt x="10354" y="4878"/>
                    <a:pt x="10508" y="4878"/>
                  </a:cubicBezTo>
                  <a:cubicBezTo>
                    <a:pt x="10576" y="4878"/>
                    <a:pt x="10651" y="4885"/>
                    <a:pt x="10734" y="4900"/>
                  </a:cubicBezTo>
                  <a:cubicBezTo>
                    <a:pt x="10734" y="4895"/>
                    <a:pt x="10729" y="4884"/>
                    <a:pt x="10729" y="4878"/>
                  </a:cubicBezTo>
                  <a:lnTo>
                    <a:pt x="10729" y="4878"/>
                  </a:lnTo>
                  <a:lnTo>
                    <a:pt x="10756" y="4900"/>
                  </a:lnTo>
                  <a:lnTo>
                    <a:pt x="10734" y="4900"/>
                  </a:lnTo>
                  <a:cubicBezTo>
                    <a:pt x="10831" y="5190"/>
                    <a:pt x="10578" y="5582"/>
                    <a:pt x="10992" y="5781"/>
                  </a:cubicBezTo>
                  <a:cubicBezTo>
                    <a:pt x="11674" y="6254"/>
                    <a:pt x="12556" y="6351"/>
                    <a:pt x="13270" y="6765"/>
                  </a:cubicBezTo>
                  <a:cubicBezTo>
                    <a:pt x="13506" y="6904"/>
                    <a:pt x="13727" y="7075"/>
                    <a:pt x="13910" y="7313"/>
                  </a:cubicBezTo>
                  <a:cubicBezTo>
                    <a:pt x="13920" y="7484"/>
                    <a:pt x="13925" y="7661"/>
                    <a:pt x="13930" y="7834"/>
                  </a:cubicBezTo>
                  <a:cubicBezTo>
                    <a:pt x="13942" y="7828"/>
                    <a:pt x="13947" y="7828"/>
                    <a:pt x="13957" y="7822"/>
                  </a:cubicBezTo>
                  <a:lnTo>
                    <a:pt x="13957" y="7822"/>
                  </a:lnTo>
                  <a:lnTo>
                    <a:pt x="13947" y="7839"/>
                  </a:lnTo>
                  <a:cubicBezTo>
                    <a:pt x="13942" y="7844"/>
                    <a:pt x="13937" y="7854"/>
                    <a:pt x="13937" y="7854"/>
                  </a:cubicBezTo>
                  <a:cubicBezTo>
                    <a:pt x="13937" y="7849"/>
                    <a:pt x="13937" y="7839"/>
                    <a:pt x="13930" y="7834"/>
                  </a:cubicBezTo>
                  <a:cubicBezTo>
                    <a:pt x="13679" y="7925"/>
                    <a:pt x="13625" y="8124"/>
                    <a:pt x="13667" y="8365"/>
                  </a:cubicBezTo>
                  <a:cubicBezTo>
                    <a:pt x="13672" y="8365"/>
                    <a:pt x="13679" y="8360"/>
                    <a:pt x="13689" y="8360"/>
                  </a:cubicBezTo>
                  <a:lnTo>
                    <a:pt x="13667" y="8387"/>
                  </a:lnTo>
                  <a:lnTo>
                    <a:pt x="13667" y="8365"/>
                  </a:lnTo>
                  <a:cubicBezTo>
                    <a:pt x="13377" y="8446"/>
                    <a:pt x="13324" y="8645"/>
                    <a:pt x="13399" y="8908"/>
                  </a:cubicBezTo>
                  <a:cubicBezTo>
                    <a:pt x="13409" y="8902"/>
                    <a:pt x="13409" y="8897"/>
                    <a:pt x="13421" y="8892"/>
                  </a:cubicBezTo>
                  <a:lnTo>
                    <a:pt x="13421" y="8892"/>
                  </a:lnTo>
                  <a:lnTo>
                    <a:pt x="13409" y="8908"/>
                  </a:lnTo>
                  <a:cubicBezTo>
                    <a:pt x="13409" y="8913"/>
                    <a:pt x="13404" y="8918"/>
                    <a:pt x="13404" y="8918"/>
                  </a:cubicBezTo>
                  <a:cubicBezTo>
                    <a:pt x="13399" y="8918"/>
                    <a:pt x="13399" y="8913"/>
                    <a:pt x="13399" y="8908"/>
                  </a:cubicBezTo>
                  <a:cubicBezTo>
                    <a:pt x="12834" y="9230"/>
                    <a:pt x="12873" y="9795"/>
                    <a:pt x="12878" y="10326"/>
                  </a:cubicBezTo>
                  <a:cubicBezTo>
                    <a:pt x="12884" y="10816"/>
                    <a:pt x="12913" y="11024"/>
                    <a:pt x="13140" y="11024"/>
                  </a:cubicBezTo>
                  <a:cubicBezTo>
                    <a:pt x="13297" y="11024"/>
                    <a:pt x="13546" y="10926"/>
                    <a:pt x="13947" y="10755"/>
                  </a:cubicBezTo>
                  <a:lnTo>
                    <a:pt x="13947" y="10755"/>
                  </a:lnTo>
                  <a:cubicBezTo>
                    <a:pt x="13942" y="10767"/>
                    <a:pt x="13937" y="10777"/>
                    <a:pt x="13930" y="10782"/>
                  </a:cubicBezTo>
                  <a:cubicBezTo>
                    <a:pt x="14086" y="10874"/>
                    <a:pt x="14248" y="10955"/>
                    <a:pt x="14404" y="11030"/>
                  </a:cubicBezTo>
                  <a:cubicBezTo>
                    <a:pt x="14414" y="11013"/>
                    <a:pt x="14425" y="10998"/>
                    <a:pt x="14436" y="10976"/>
                  </a:cubicBezTo>
                  <a:cubicBezTo>
                    <a:pt x="14446" y="10960"/>
                    <a:pt x="14463" y="10938"/>
                    <a:pt x="14485" y="10923"/>
                  </a:cubicBezTo>
                  <a:cubicBezTo>
                    <a:pt x="15075" y="11395"/>
                    <a:pt x="15742" y="11471"/>
                    <a:pt x="16327" y="11471"/>
                  </a:cubicBezTo>
                  <a:cubicBezTo>
                    <a:pt x="16477" y="11471"/>
                    <a:pt x="16628" y="11464"/>
                    <a:pt x="16778" y="11459"/>
                  </a:cubicBezTo>
                  <a:cubicBezTo>
                    <a:pt x="16858" y="11454"/>
                    <a:pt x="16940" y="11454"/>
                    <a:pt x="17020" y="11454"/>
                  </a:cubicBezTo>
                  <a:cubicBezTo>
                    <a:pt x="17283" y="11540"/>
                    <a:pt x="17547" y="11632"/>
                    <a:pt x="17798" y="11754"/>
                  </a:cubicBezTo>
                  <a:cubicBezTo>
                    <a:pt x="18019" y="11863"/>
                    <a:pt x="18282" y="11992"/>
                    <a:pt x="18546" y="12034"/>
                  </a:cubicBezTo>
                  <a:cubicBezTo>
                    <a:pt x="18601" y="12042"/>
                    <a:pt x="18656" y="12047"/>
                    <a:pt x="18710" y="12047"/>
                  </a:cubicBezTo>
                  <a:cubicBezTo>
                    <a:pt x="18777" y="12047"/>
                    <a:pt x="18843" y="12039"/>
                    <a:pt x="18911" y="12019"/>
                  </a:cubicBezTo>
                  <a:cubicBezTo>
                    <a:pt x="19115" y="11965"/>
                    <a:pt x="19244" y="11787"/>
                    <a:pt x="19201" y="11583"/>
                  </a:cubicBezTo>
                  <a:cubicBezTo>
                    <a:pt x="19340" y="11303"/>
                    <a:pt x="18954" y="10777"/>
                    <a:pt x="18728" y="10626"/>
                  </a:cubicBezTo>
                  <a:cubicBezTo>
                    <a:pt x="18718" y="10621"/>
                    <a:pt x="18707" y="10616"/>
                    <a:pt x="18691" y="10606"/>
                  </a:cubicBezTo>
                  <a:cubicBezTo>
                    <a:pt x="18551" y="10423"/>
                    <a:pt x="18422" y="10234"/>
                    <a:pt x="18299" y="10052"/>
                  </a:cubicBezTo>
                  <a:cubicBezTo>
                    <a:pt x="18175" y="9869"/>
                    <a:pt x="18056" y="9691"/>
                    <a:pt x="17954" y="9515"/>
                  </a:cubicBezTo>
                  <a:cubicBezTo>
                    <a:pt x="16886" y="8784"/>
                    <a:pt x="17547" y="8124"/>
                    <a:pt x="18212" y="7457"/>
                  </a:cubicBezTo>
                  <a:cubicBezTo>
                    <a:pt x="18212" y="8124"/>
                    <a:pt x="18212" y="8784"/>
                    <a:pt x="18326" y="9461"/>
                  </a:cubicBezTo>
                  <a:cubicBezTo>
                    <a:pt x="18368" y="9563"/>
                    <a:pt x="18428" y="9671"/>
                    <a:pt x="18497" y="9768"/>
                  </a:cubicBezTo>
                  <a:cubicBezTo>
                    <a:pt x="18777" y="10160"/>
                    <a:pt x="19249" y="10460"/>
                    <a:pt x="19679" y="10460"/>
                  </a:cubicBezTo>
                  <a:cubicBezTo>
                    <a:pt x="19824" y="10460"/>
                    <a:pt x="19964" y="10428"/>
                    <a:pt x="20093" y="10363"/>
                  </a:cubicBezTo>
                  <a:cubicBezTo>
                    <a:pt x="20372" y="10219"/>
                    <a:pt x="20523" y="10197"/>
                    <a:pt x="20592" y="10197"/>
                  </a:cubicBezTo>
                  <a:cubicBezTo>
                    <a:pt x="20619" y="10197"/>
                    <a:pt x="20630" y="10202"/>
                    <a:pt x="20630" y="10202"/>
                  </a:cubicBezTo>
                  <a:cubicBezTo>
                    <a:pt x="20732" y="10278"/>
                    <a:pt x="20781" y="10772"/>
                    <a:pt x="20796" y="10960"/>
                  </a:cubicBezTo>
                  <a:lnTo>
                    <a:pt x="20808" y="11045"/>
                  </a:lnTo>
                  <a:cubicBezTo>
                    <a:pt x="20910" y="12121"/>
                    <a:pt x="21415" y="12346"/>
                    <a:pt x="21817" y="12346"/>
                  </a:cubicBezTo>
                  <a:cubicBezTo>
                    <a:pt x="21898" y="12346"/>
                    <a:pt x="21973" y="12341"/>
                    <a:pt x="22048" y="12319"/>
                  </a:cubicBezTo>
                  <a:cubicBezTo>
                    <a:pt x="22000" y="12168"/>
                    <a:pt x="21946" y="11997"/>
                    <a:pt x="21936" y="11803"/>
                  </a:cubicBezTo>
                  <a:cubicBezTo>
                    <a:pt x="22085" y="11771"/>
                    <a:pt x="22263" y="11685"/>
                    <a:pt x="22467" y="11567"/>
                  </a:cubicBezTo>
                  <a:cubicBezTo>
                    <a:pt x="22580" y="11245"/>
                    <a:pt x="22795" y="11057"/>
                    <a:pt x="23156" y="11057"/>
                  </a:cubicBezTo>
                  <a:lnTo>
                    <a:pt x="23161" y="11057"/>
                  </a:lnTo>
                  <a:cubicBezTo>
                    <a:pt x="23354" y="10992"/>
                    <a:pt x="23520" y="10911"/>
                    <a:pt x="23665" y="10826"/>
                  </a:cubicBezTo>
                  <a:cubicBezTo>
                    <a:pt x="23789" y="10976"/>
                    <a:pt x="23880" y="11126"/>
                    <a:pt x="23939" y="11283"/>
                  </a:cubicBezTo>
                  <a:cubicBezTo>
                    <a:pt x="24879" y="10702"/>
                    <a:pt x="25035" y="9730"/>
                    <a:pt x="25164" y="8918"/>
                  </a:cubicBezTo>
                  <a:cubicBezTo>
                    <a:pt x="25224" y="8521"/>
                    <a:pt x="25283" y="8144"/>
                    <a:pt x="25417" y="7806"/>
                  </a:cubicBezTo>
                  <a:cubicBezTo>
                    <a:pt x="25487" y="7623"/>
                    <a:pt x="25449" y="7415"/>
                    <a:pt x="25325" y="7269"/>
                  </a:cubicBezTo>
                  <a:cubicBezTo>
                    <a:pt x="25224" y="7145"/>
                    <a:pt x="25073" y="7081"/>
                    <a:pt x="24917" y="7081"/>
                  </a:cubicBezTo>
                  <a:cubicBezTo>
                    <a:pt x="24879" y="7081"/>
                    <a:pt x="24847" y="7081"/>
                    <a:pt x="24810" y="7092"/>
                  </a:cubicBezTo>
                  <a:cubicBezTo>
                    <a:pt x="24520" y="7152"/>
                    <a:pt x="24245" y="7199"/>
                    <a:pt x="23987" y="7248"/>
                  </a:cubicBezTo>
                  <a:cubicBezTo>
                    <a:pt x="23429" y="7345"/>
                    <a:pt x="22903" y="7435"/>
                    <a:pt x="22397" y="7608"/>
                  </a:cubicBezTo>
                  <a:cubicBezTo>
                    <a:pt x="22161" y="7688"/>
                    <a:pt x="21968" y="7732"/>
                    <a:pt x="21828" y="7732"/>
                  </a:cubicBezTo>
                  <a:cubicBezTo>
                    <a:pt x="21678" y="7732"/>
                    <a:pt x="21479" y="7732"/>
                    <a:pt x="21296" y="6958"/>
                  </a:cubicBezTo>
                  <a:cubicBezTo>
                    <a:pt x="21011" y="5727"/>
                    <a:pt x="20625" y="4529"/>
                    <a:pt x="20211" y="3256"/>
                  </a:cubicBezTo>
                  <a:cubicBezTo>
                    <a:pt x="20034" y="2703"/>
                    <a:pt x="19851" y="2139"/>
                    <a:pt x="19674" y="1553"/>
                  </a:cubicBezTo>
                  <a:cubicBezTo>
                    <a:pt x="19647" y="1478"/>
                    <a:pt x="19610" y="1419"/>
                    <a:pt x="19561" y="1365"/>
                  </a:cubicBezTo>
                  <a:cubicBezTo>
                    <a:pt x="19561" y="1306"/>
                    <a:pt x="19556" y="1246"/>
                    <a:pt x="19545" y="1177"/>
                  </a:cubicBezTo>
                  <a:cubicBezTo>
                    <a:pt x="19513" y="795"/>
                    <a:pt x="19405" y="527"/>
                    <a:pt x="19260" y="334"/>
                  </a:cubicBezTo>
                  <a:cubicBezTo>
                    <a:pt x="19137" y="172"/>
                    <a:pt x="18986" y="71"/>
                    <a:pt x="18825"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81" name="Google Shape;1179;p29">
              <a:extLst>
                <a:ext uri="{FF2B5EF4-FFF2-40B4-BE49-F238E27FC236}">
                  <a16:creationId xmlns:a16="http://schemas.microsoft.com/office/drawing/2014/main" id="{AE5F1F99-3EE4-6BAC-1D61-7D8C51DF532F}"/>
                </a:ext>
              </a:extLst>
            </p:cNvPr>
            <p:cNvSpPr/>
            <p:nvPr/>
          </p:nvSpPr>
          <p:spPr>
            <a:xfrm>
              <a:off x="6725975" y="1781476"/>
              <a:ext cx="236000" cy="240274"/>
            </a:xfrm>
            <a:custGeom>
              <a:avLst/>
              <a:gdLst/>
              <a:ahLst/>
              <a:cxnLst/>
              <a:rect l="l" t="t" r="r" b="b"/>
              <a:pathLst>
                <a:path w="9440" h="9611" extrusionOk="0">
                  <a:moveTo>
                    <a:pt x="8049" y="0"/>
                  </a:moveTo>
                  <a:cubicBezTo>
                    <a:pt x="6936" y="167"/>
                    <a:pt x="5867" y="430"/>
                    <a:pt x="4820" y="769"/>
                  </a:cubicBezTo>
                  <a:cubicBezTo>
                    <a:pt x="4208" y="989"/>
                    <a:pt x="3590" y="1208"/>
                    <a:pt x="2971" y="1434"/>
                  </a:cubicBezTo>
                  <a:cubicBezTo>
                    <a:pt x="3026" y="1370"/>
                    <a:pt x="3090" y="1312"/>
                    <a:pt x="3133" y="1241"/>
                  </a:cubicBezTo>
                  <a:cubicBezTo>
                    <a:pt x="3154" y="1208"/>
                    <a:pt x="3144" y="1156"/>
                    <a:pt x="3149" y="1112"/>
                  </a:cubicBezTo>
                  <a:cubicBezTo>
                    <a:pt x="3092" y="1108"/>
                    <a:pt x="3035" y="1106"/>
                    <a:pt x="2979" y="1106"/>
                  </a:cubicBezTo>
                  <a:cubicBezTo>
                    <a:pt x="2102" y="1106"/>
                    <a:pt x="1311" y="1551"/>
                    <a:pt x="464" y="1687"/>
                  </a:cubicBezTo>
                  <a:cubicBezTo>
                    <a:pt x="296" y="1838"/>
                    <a:pt x="184" y="2021"/>
                    <a:pt x="114" y="2257"/>
                  </a:cubicBezTo>
                  <a:cubicBezTo>
                    <a:pt x="50" y="2450"/>
                    <a:pt x="18" y="2681"/>
                    <a:pt x="1" y="2949"/>
                  </a:cubicBezTo>
                  <a:cubicBezTo>
                    <a:pt x="157" y="3901"/>
                    <a:pt x="372" y="5056"/>
                    <a:pt x="511" y="5807"/>
                  </a:cubicBezTo>
                  <a:cubicBezTo>
                    <a:pt x="618" y="6393"/>
                    <a:pt x="861" y="6985"/>
                    <a:pt x="883" y="7565"/>
                  </a:cubicBezTo>
                  <a:cubicBezTo>
                    <a:pt x="888" y="7694"/>
                    <a:pt x="883" y="7823"/>
                    <a:pt x="861" y="7945"/>
                  </a:cubicBezTo>
                  <a:cubicBezTo>
                    <a:pt x="812" y="8267"/>
                    <a:pt x="667" y="8579"/>
                    <a:pt x="367" y="8891"/>
                  </a:cubicBezTo>
                  <a:cubicBezTo>
                    <a:pt x="360" y="8897"/>
                    <a:pt x="469" y="9015"/>
                    <a:pt x="528" y="9080"/>
                  </a:cubicBezTo>
                  <a:cubicBezTo>
                    <a:pt x="469" y="9273"/>
                    <a:pt x="420" y="9445"/>
                    <a:pt x="360" y="9584"/>
                  </a:cubicBezTo>
                  <a:cubicBezTo>
                    <a:pt x="415" y="9601"/>
                    <a:pt x="469" y="9611"/>
                    <a:pt x="528" y="9611"/>
                  </a:cubicBezTo>
                  <a:lnTo>
                    <a:pt x="533" y="9611"/>
                  </a:lnTo>
                  <a:cubicBezTo>
                    <a:pt x="673" y="9611"/>
                    <a:pt x="807" y="9595"/>
                    <a:pt x="930" y="9574"/>
                  </a:cubicBezTo>
                  <a:cubicBezTo>
                    <a:pt x="1360" y="9499"/>
                    <a:pt x="1721" y="9305"/>
                    <a:pt x="1999" y="8993"/>
                  </a:cubicBezTo>
                  <a:cubicBezTo>
                    <a:pt x="3338" y="7500"/>
                    <a:pt x="5067" y="6715"/>
                    <a:pt x="7253" y="6006"/>
                  </a:cubicBezTo>
                  <a:cubicBezTo>
                    <a:pt x="8301" y="5663"/>
                    <a:pt x="8914" y="5388"/>
                    <a:pt x="9219" y="5002"/>
                  </a:cubicBezTo>
                  <a:cubicBezTo>
                    <a:pt x="9333" y="4857"/>
                    <a:pt x="9403" y="4690"/>
                    <a:pt x="9440" y="4503"/>
                  </a:cubicBezTo>
                  <a:cubicBezTo>
                    <a:pt x="9252" y="3766"/>
                    <a:pt x="9053" y="2891"/>
                    <a:pt x="8817" y="2021"/>
                  </a:cubicBezTo>
                  <a:cubicBezTo>
                    <a:pt x="8666" y="1466"/>
                    <a:pt x="8414" y="876"/>
                    <a:pt x="8564" y="441"/>
                  </a:cubicBezTo>
                  <a:cubicBezTo>
                    <a:pt x="8446" y="263"/>
                    <a:pt x="8307" y="134"/>
                    <a:pt x="8156" y="54"/>
                  </a:cubicBezTo>
                  <a:cubicBezTo>
                    <a:pt x="8118" y="33"/>
                    <a:pt x="8081" y="16"/>
                    <a:pt x="8049"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0" tIns="91425" rIns="0"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CT</a:t>
              </a:r>
              <a:endParaRPr kumimoji="0" sz="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82" name="Google Shape;1180;p29">
              <a:extLst>
                <a:ext uri="{FF2B5EF4-FFF2-40B4-BE49-F238E27FC236}">
                  <a16:creationId xmlns:a16="http://schemas.microsoft.com/office/drawing/2014/main" id="{FAA85B97-7310-16B9-8886-377028D1C8D3}"/>
                </a:ext>
              </a:extLst>
            </p:cNvPr>
            <p:cNvSpPr/>
            <p:nvPr/>
          </p:nvSpPr>
          <p:spPr>
            <a:xfrm>
              <a:off x="6577450" y="2562875"/>
              <a:ext cx="70950" cy="152950"/>
            </a:xfrm>
            <a:custGeom>
              <a:avLst/>
              <a:gdLst/>
              <a:ahLst/>
              <a:cxnLst/>
              <a:rect l="l" t="t" r="r" b="b"/>
              <a:pathLst>
                <a:path w="2838" h="6118" extrusionOk="0">
                  <a:moveTo>
                    <a:pt x="2337" y="0"/>
                  </a:moveTo>
                  <a:cubicBezTo>
                    <a:pt x="2192" y="85"/>
                    <a:pt x="2026" y="166"/>
                    <a:pt x="1833" y="231"/>
                  </a:cubicBezTo>
                  <a:lnTo>
                    <a:pt x="1828" y="231"/>
                  </a:lnTo>
                  <a:cubicBezTo>
                    <a:pt x="1467" y="231"/>
                    <a:pt x="1252" y="419"/>
                    <a:pt x="1139" y="741"/>
                  </a:cubicBezTo>
                  <a:cubicBezTo>
                    <a:pt x="1144" y="735"/>
                    <a:pt x="1151" y="735"/>
                    <a:pt x="1156" y="730"/>
                  </a:cubicBezTo>
                  <a:lnTo>
                    <a:pt x="1156" y="730"/>
                  </a:lnTo>
                  <a:lnTo>
                    <a:pt x="1151" y="735"/>
                  </a:lnTo>
                  <a:lnTo>
                    <a:pt x="1134" y="747"/>
                  </a:lnTo>
                  <a:lnTo>
                    <a:pt x="1139" y="741"/>
                  </a:lnTo>
                  <a:lnTo>
                    <a:pt x="1139" y="741"/>
                  </a:lnTo>
                  <a:cubicBezTo>
                    <a:pt x="935" y="859"/>
                    <a:pt x="757" y="945"/>
                    <a:pt x="608" y="977"/>
                  </a:cubicBezTo>
                  <a:cubicBezTo>
                    <a:pt x="618" y="1171"/>
                    <a:pt x="672" y="1342"/>
                    <a:pt x="720" y="1493"/>
                  </a:cubicBezTo>
                  <a:cubicBezTo>
                    <a:pt x="725" y="1503"/>
                    <a:pt x="725" y="1515"/>
                    <a:pt x="732" y="1525"/>
                  </a:cubicBezTo>
                  <a:cubicBezTo>
                    <a:pt x="839" y="1858"/>
                    <a:pt x="828" y="1885"/>
                    <a:pt x="737" y="1982"/>
                  </a:cubicBezTo>
                  <a:cubicBezTo>
                    <a:pt x="1" y="2772"/>
                    <a:pt x="38" y="3680"/>
                    <a:pt x="70" y="4560"/>
                  </a:cubicBezTo>
                  <a:cubicBezTo>
                    <a:pt x="87" y="4878"/>
                    <a:pt x="97" y="5210"/>
                    <a:pt x="80" y="5554"/>
                  </a:cubicBezTo>
                  <a:cubicBezTo>
                    <a:pt x="65" y="5790"/>
                    <a:pt x="209" y="6006"/>
                    <a:pt x="430" y="6086"/>
                  </a:cubicBezTo>
                  <a:cubicBezTo>
                    <a:pt x="489" y="6108"/>
                    <a:pt x="548" y="6118"/>
                    <a:pt x="613" y="6118"/>
                  </a:cubicBezTo>
                  <a:cubicBezTo>
                    <a:pt x="779" y="6118"/>
                    <a:pt x="940" y="6038"/>
                    <a:pt x="1042" y="5899"/>
                  </a:cubicBezTo>
                  <a:cubicBezTo>
                    <a:pt x="1892" y="4749"/>
                    <a:pt x="2337" y="3685"/>
                    <a:pt x="2401" y="2648"/>
                  </a:cubicBezTo>
                  <a:cubicBezTo>
                    <a:pt x="2413" y="2487"/>
                    <a:pt x="2472" y="2282"/>
                    <a:pt x="2537" y="2068"/>
                  </a:cubicBezTo>
                  <a:cubicBezTo>
                    <a:pt x="2666" y="1638"/>
                    <a:pt x="2837" y="1042"/>
                    <a:pt x="2611" y="457"/>
                  </a:cubicBezTo>
                  <a:cubicBezTo>
                    <a:pt x="2552" y="300"/>
                    <a:pt x="2461" y="150"/>
                    <a:pt x="2337"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83" name="Google Shape;1181;p29">
              <a:extLst>
                <a:ext uri="{FF2B5EF4-FFF2-40B4-BE49-F238E27FC236}">
                  <a16:creationId xmlns:a16="http://schemas.microsoft.com/office/drawing/2014/main" id="{59A0FC34-08B3-4979-C379-076F11CF63E8}"/>
                </a:ext>
              </a:extLst>
            </p:cNvPr>
            <p:cNvSpPr/>
            <p:nvPr/>
          </p:nvSpPr>
          <p:spPr>
            <a:xfrm>
              <a:off x="322350" y="972150"/>
              <a:ext cx="1107875" cy="919625"/>
            </a:xfrm>
            <a:custGeom>
              <a:avLst/>
              <a:gdLst/>
              <a:ahLst/>
              <a:cxnLst/>
              <a:rect l="l" t="t" r="r" b="b"/>
              <a:pathLst>
                <a:path w="44315" h="36785" extrusionOk="0">
                  <a:moveTo>
                    <a:pt x="16427" y="6431"/>
                  </a:moveTo>
                  <a:cubicBezTo>
                    <a:pt x="16428" y="6431"/>
                    <a:pt x="16429" y="6431"/>
                    <a:pt x="16430" y="6431"/>
                  </a:cubicBezTo>
                  <a:lnTo>
                    <a:pt x="16430" y="6431"/>
                  </a:lnTo>
                  <a:cubicBezTo>
                    <a:pt x="16429" y="6431"/>
                    <a:pt x="16428" y="6431"/>
                    <a:pt x="16427" y="6431"/>
                  </a:cubicBezTo>
                  <a:close/>
                  <a:moveTo>
                    <a:pt x="10669" y="1"/>
                  </a:moveTo>
                  <a:cubicBezTo>
                    <a:pt x="10347" y="156"/>
                    <a:pt x="10025" y="478"/>
                    <a:pt x="9852" y="1118"/>
                  </a:cubicBezTo>
                  <a:cubicBezTo>
                    <a:pt x="9304" y="3170"/>
                    <a:pt x="8510" y="5190"/>
                    <a:pt x="7736" y="7140"/>
                  </a:cubicBezTo>
                  <a:cubicBezTo>
                    <a:pt x="7134" y="8665"/>
                    <a:pt x="6511" y="10245"/>
                    <a:pt x="6001" y="11841"/>
                  </a:cubicBezTo>
                  <a:cubicBezTo>
                    <a:pt x="5334" y="13941"/>
                    <a:pt x="4179" y="15843"/>
                    <a:pt x="3062" y="17685"/>
                  </a:cubicBezTo>
                  <a:cubicBezTo>
                    <a:pt x="2579" y="18476"/>
                    <a:pt x="2084" y="19292"/>
                    <a:pt x="1627" y="20114"/>
                  </a:cubicBezTo>
                  <a:lnTo>
                    <a:pt x="1605" y="20152"/>
                  </a:lnTo>
                  <a:cubicBezTo>
                    <a:pt x="982" y="21290"/>
                    <a:pt x="489" y="22188"/>
                    <a:pt x="918" y="23563"/>
                  </a:cubicBezTo>
                  <a:cubicBezTo>
                    <a:pt x="935" y="23606"/>
                    <a:pt x="854" y="23745"/>
                    <a:pt x="789" y="23859"/>
                  </a:cubicBezTo>
                  <a:cubicBezTo>
                    <a:pt x="703" y="24008"/>
                    <a:pt x="606" y="24176"/>
                    <a:pt x="558" y="24385"/>
                  </a:cubicBezTo>
                  <a:lnTo>
                    <a:pt x="499" y="24610"/>
                  </a:lnTo>
                  <a:cubicBezTo>
                    <a:pt x="231" y="25652"/>
                    <a:pt x="0" y="26555"/>
                    <a:pt x="494" y="27308"/>
                  </a:cubicBezTo>
                  <a:cubicBezTo>
                    <a:pt x="580" y="27442"/>
                    <a:pt x="687" y="27560"/>
                    <a:pt x="811" y="27667"/>
                  </a:cubicBezTo>
                  <a:cubicBezTo>
                    <a:pt x="967" y="27538"/>
                    <a:pt x="1166" y="27464"/>
                    <a:pt x="1402" y="27442"/>
                  </a:cubicBezTo>
                  <a:cubicBezTo>
                    <a:pt x="1714" y="27625"/>
                    <a:pt x="2143" y="27764"/>
                    <a:pt x="2740" y="27861"/>
                  </a:cubicBezTo>
                  <a:cubicBezTo>
                    <a:pt x="3519" y="27990"/>
                    <a:pt x="4270" y="28290"/>
                    <a:pt x="5039" y="28505"/>
                  </a:cubicBezTo>
                  <a:cubicBezTo>
                    <a:pt x="10432" y="30031"/>
                    <a:pt x="15837" y="31518"/>
                    <a:pt x="21262" y="32921"/>
                  </a:cubicBezTo>
                  <a:cubicBezTo>
                    <a:pt x="21381" y="33018"/>
                    <a:pt x="21478" y="33120"/>
                    <a:pt x="21552" y="33238"/>
                  </a:cubicBezTo>
                  <a:cubicBezTo>
                    <a:pt x="21649" y="33174"/>
                    <a:pt x="21768" y="33120"/>
                    <a:pt x="21902" y="33088"/>
                  </a:cubicBezTo>
                  <a:cubicBezTo>
                    <a:pt x="26270" y="34216"/>
                    <a:pt x="36687" y="36779"/>
                    <a:pt x="36724" y="36784"/>
                  </a:cubicBezTo>
                  <a:cubicBezTo>
                    <a:pt x="36714" y="36747"/>
                    <a:pt x="37299" y="31089"/>
                    <a:pt x="37852" y="28994"/>
                  </a:cubicBezTo>
                  <a:cubicBezTo>
                    <a:pt x="38217" y="27598"/>
                    <a:pt x="38229" y="26093"/>
                    <a:pt x="38873" y="24771"/>
                  </a:cubicBezTo>
                  <a:cubicBezTo>
                    <a:pt x="38921" y="24573"/>
                    <a:pt x="38996" y="24385"/>
                    <a:pt x="39131" y="24196"/>
                  </a:cubicBezTo>
                  <a:cubicBezTo>
                    <a:pt x="39206" y="24089"/>
                    <a:pt x="39318" y="24025"/>
                    <a:pt x="39432" y="23966"/>
                  </a:cubicBezTo>
                  <a:cubicBezTo>
                    <a:pt x="39560" y="23891"/>
                    <a:pt x="39625" y="23810"/>
                    <a:pt x="39662" y="23725"/>
                  </a:cubicBezTo>
                  <a:cubicBezTo>
                    <a:pt x="39625" y="23294"/>
                    <a:pt x="39506" y="22854"/>
                    <a:pt x="39893" y="22493"/>
                  </a:cubicBezTo>
                  <a:cubicBezTo>
                    <a:pt x="39893" y="22564"/>
                    <a:pt x="39898" y="22634"/>
                    <a:pt x="39905" y="22703"/>
                  </a:cubicBezTo>
                  <a:cubicBezTo>
                    <a:pt x="39942" y="22634"/>
                    <a:pt x="39980" y="22564"/>
                    <a:pt x="40012" y="22493"/>
                  </a:cubicBezTo>
                  <a:cubicBezTo>
                    <a:pt x="39980" y="22483"/>
                    <a:pt x="39947" y="22473"/>
                    <a:pt x="39920" y="22456"/>
                  </a:cubicBezTo>
                  <a:cubicBezTo>
                    <a:pt x="39856" y="22262"/>
                    <a:pt x="39796" y="22074"/>
                    <a:pt x="39737" y="21881"/>
                  </a:cubicBezTo>
                  <a:cubicBezTo>
                    <a:pt x="39705" y="21870"/>
                    <a:pt x="39679" y="21860"/>
                    <a:pt x="39647" y="21849"/>
                  </a:cubicBezTo>
                  <a:cubicBezTo>
                    <a:pt x="39453" y="21791"/>
                    <a:pt x="39147" y="21731"/>
                    <a:pt x="39018" y="21548"/>
                  </a:cubicBezTo>
                  <a:cubicBezTo>
                    <a:pt x="38926" y="21419"/>
                    <a:pt x="38899" y="21258"/>
                    <a:pt x="38911" y="21097"/>
                  </a:cubicBezTo>
                  <a:cubicBezTo>
                    <a:pt x="38765" y="20796"/>
                    <a:pt x="38884" y="20554"/>
                    <a:pt x="39104" y="20328"/>
                  </a:cubicBezTo>
                  <a:cubicBezTo>
                    <a:pt x="39136" y="20249"/>
                    <a:pt x="39169" y="20167"/>
                    <a:pt x="39196" y="20092"/>
                  </a:cubicBezTo>
                  <a:cubicBezTo>
                    <a:pt x="39404" y="19517"/>
                    <a:pt x="39603" y="18873"/>
                    <a:pt x="39958" y="18367"/>
                  </a:cubicBezTo>
                  <a:cubicBezTo>
                    <a:pt x="40146" y="18094"/>
                    <a:pt x="40371" y="17879"/>
                    <a:pt x="40640" y="17680"/>
                  </a:cubicBezTo>
                  <a:cubicBezTo>
                    <a:pt x="41150" y="17315"/>
                    <a:pt x="41510" y="16971"/>
                    <a:pt x="41817" y="16418"/>
                  </a:cubicBezTo>
                  <a:cubicBezTo>
                    <a:pt x="42097" y="15924"/>
                    <a:pt x="42354" y="15414"/>
                    <a:pt x="42692" y="14957"/>
                  </a:cubicBezTo>
                  <a:cubicBezTo>
                    <a:pt x="42982" y="14570"/>
                    <a:pt x="43321" y="14231"/>
                    <a:pt x="43612" y="13834"/>
                  </a:cubicBezTo>
                  <a:cubicBezTo>
                    <a:pt x="43605" y="13829"/>
                    <a:pt x="43600" y="13823"/>
                    <a:pt x="43600" y="13823"/>
                  </a:cubicBezTo>
                  <a:cubicBezTo>
                    <a:pt x="43647" y="13719"/>
                    <a:pt x="43688" y="13591"/>
                    <a:pt x="43787" y="13591"/>
                  </a:cubicBezTo>
                  <a:cubicBezTo>
                    <a:pt x="43791" y="13591"/>
                    <a:pt x="43795" y="13591"/>
                    <a:pt x="43799" y="13592"/>
                  </a:cubicBezTo>
                  <a:cubicBezTo>
                    <a:pt x="43826" y="13559"/>
                    <a:pt x="43858" y="13527"/>
                    <a:pt x="43885" y="13495"/>
                  </a:cubicBezTo>
                  <a:cubicBezTo>
                    <a:pt x="43869" y="13318"/>
                    <a:pt x="43992" y="13210"/>
                    <a:pt x="44175" y="13130"/>
                  </a:cubicBezTo>
                  <a:cubicBezTo>
                    <a:pt x="44175" y="13130"/>
                    <a:pt x="44175" y="13135"/>
                    <a:pt x="44180" y="13135"/>
                  </a:cubicBezTo>
                  <a:cubicBezTo>
                    <a:pt x="44229" y="13066"/>
                    <a:pt x="44277" y="12991"/>
                    <a:pt x="44314" y="12915"/>
                  </a:cubicBezTo>
                  <a:lnTo>
                    <a:pt x="44314" y="12915"/>
                  </a:lnTo>
                  <a:cubicBezTo>
                    <a:pt x="44277" y="12964"/>
                    <a:pt x="44239" y="13017"/>
                    <a:pt x="44192" y="13066"/>
                  </a:cubicBezTo>
                  <a:cubicBezTo>
                    <a:pt x="44197" y="12738"/>
                    <a:pt x="44197" y="12404"/>
                    <a:pt x="44202" y="12077"/>
                  </a:cubicBezTo>
                  <a:cubicBezTo>
                    <a:pt x="44024" y="11856"/>
                    <a:pt x="43756" y="11754"/>
                    <a:pt x="43483" y="11551"/>
                  </a:cubicBezTo>
                  <a:cubicBezTo>
                    <a:pt x="43450" y="11529"/>
                    <a:pt x="43423" y="11497"/>
                    <a:pt x="43396" y="11470"/>
                  </a:cubicBezTo>
                  <a:cubicBezTo>
                    <a:pt x="43079" y="11357"/>
                    <a:pt x="42923" y="11083"/>
                    <a:pt x="42875" y="10702"/>
                  </a:cubicBezTo>
                  <a:cubicBezTo>
                    <a:pt x="42784" y="10514"/>
                    <a:pt x="42697" y="10326"/>
                    <a:pt x="42601" y="10148"/>
                  </a:cubicBezTo>
                  <a:cubicBezTo>
                    <a:pt x="42596" y="10138"/>
                    <a:pt x="42590" y="10122"/>
                    <a:pt x="42585" y="10111"/>
                  </a:cubicBezTo>
                  <a:cubicBezTo>
                    <a:pt x="40087" y="9681"/>
                    <a:pt x="37674" y="8908"/>
                    <a:pt x="35214" y="8343"/>
                  </a:cubicBezTo>
                  <a:cubicBezTo>
                    <a:pt x="34636" y="8213"/>
                    <a:pt x="34052" y="7965"/>
                    <a:pt x="33455" y="7965"/>
                  </a:cubicBezTo>
                  <a:cubicBezTo>
                    <a:pt x="33115" y="7965"/>
                    <a:pt x="32771" y="8046"/>
                    <a:pt x="32420" y="8273"/>
                  </a:cubicBezTo>
                  <a:cubicBezTo>
                    <a:pt x="32346" y="8323"/>
                    <a:pt x="32248" y="8352"/>
                    <a:pt x="32144" y="8352"/>
                  </a:cubicBezTo>
                  <a:cubicBezTo>
                    <a:pt x="31958" y="8352"/>
                    <a:pt x="31754" y="8260"/>
                    <a:pt x="31636" y="8042"/>
                  </a:cubicBezTo>
                  <a:cubicBezTo>
                    <a:pt x="31594" y="8037"/>
                    <a:pt x="31551" y="8035"/>
                    <a:pt x="31507" y="8035"/>
                  </a:cubicBezTo>
                  <a:cubicBezTo>
                    <a:pt x="31376" y="8035"/>
                    <a:pt x="31240" y="8053"/>
                    <a:pt x="31109" y="8053"/>
                  </a:cubicBezTo>
                  <a:cubicBezTo>
                    <a:pt x="30907" y="8053"/>
                    <a:pt x="30716" y="8009"/>
                    <a:pt x="30573" y="7785"/>
                  </a:cubicBezTo>
                  <a:cubicBezTo>
                    <a:pt x="30230" y="7882"/>
                    <a:pt x="29887" y="7915"/>
                    <a:pt x="29544" y="7915"/>
                  </a:cubicBezTo>
                  <a:cubicBezTo>
                    <a:pt x="28993" y="7915"/>
                    <a:pt x="28442" y="7829"/>
                    <a:pt x="27892" y="7779"/>
                  </a:cubicBezTo>
                  <a:cubicBezTo>
                    <a:pt x="27554" y="8237"/>
                    <a:pt x="27183" y="8392"/>
                    <a:pt x="26796" y="8392"/>
                  </a:cubicBezTo>
                  <a:cubicBezTo>
                    <a:pt x="26382" y="8392"/>
                    <a:pt x="25950" y="8215"/>
                    <a:pt x="25517" y="8037"/>
                  </a:cubicBezTo>
                  <a:lnTo>
                    <a:pt x="25517" y="8053"/>
                  </a:lnTo>
                  <a:lnTo>
                    <a:pt x="25502" y="8037"/>
                  </a:lnTo>
                  <a:lnTo>
                    <a:pt x="25502" y="8037"/>
                  </a:lnTo>
                  <a:cubicBezTo>
                    <a:pt x="25507" y="8048"/>
                    <a:pt x="25517" y="8053"/>
                    <a:pt x="25517" y="8053"/>
                  </a:cubicBezTo>
                  <a:cubicBezTo>
                    <a:pt x="25254" y="7951"/>
                    <a:pt x="25066" y="7774"/>
                    <a:pt x="24964" y="7511"/>
                  </a:cubicBezTo>
                  <a:cubicBezTo>
                    <a:pt x="24674" y="7516"/>
                    <a:pt x="24389" y="7516"/>
                    <a:pt x="24099" y="7516"/>
                  </a:cubicBezTo>
                  <a:cubicBezTo>
                    <a:pt x="24072" y="7489"/>
                    <a:pt x="24040" y="7467"/>
                    <a:pt x="24014" y="7452"/>
                  </a:cubicBezTo>
                  <a:cubicBezTo>
                    <a:pt x="23954" y="7415"/>
                    <a:pt x="23890" y="7388"/>
                    <a:pt x="23826" y="7376"/>
                  </a:cubicBezTo>
                  <a:cubicBezTo>
                    <a:pt x="23793" y="7371"/>
                    <a:pt x="23761" y="7366"/>
                    <a:pt x="23729" y="7366"/>
                  </a:cubicBezTo>
                  <a:cubicBezTo>
                    <a:pt x="23713" y="7365"/>
                    <a:pt x="23698" y="7364"/>
                    <a:pt x="23682" y="7364"/>
                  </a:cubicBezTo>
                  <a:cubicBezTo>
                    <a:pt x="23457" y="7364"/>
                    <a:pt x="23220" y="7449"/>
                    <a:pt x="22997" y="7449"/>
                  </a:cubicBezTo>
                  <a:cubicBezTo>
                    <a:pt x="22843" y="7449"/>
                    <a:pt x="22696" y="7409"/>
                    <a:pt x="22563" y="7274"/>
                  </a:cubicBezTo>
                  <a:cubicBezTo>
                    <a:pt x="20554" y="6706"/>
                    <a:pt x="18450" y="6887"/>
                    <a:pt x="16430" y="6431"/>
                  </a:cubicBezTo>
                  <a:lnTo>
                    <a:pt x="16430" y="6431"/>
                  </a:lnTo>
                  <a:cubicBezTo>
                    <a:pt x="16433" y="6433"/>
                    <a:pt x="16434" y="6437"/>
                    <a:pt x="16439" y="6441"/>
                  </a:cubicBezTo>
                  <a:cubicBezTo>
                    <a:pt x="16372" y="6451"/>
                    <a:pt x="16308" y="6457"/>
                    <a:pt x="16247" y="6457"/>
                  </a:cubicBezTo>
                  <a:cubicBezTo>
                    <a:pt x="15857" y="6457"/>
                    <a:pt x="15572" y="6253"/>
                    <a:pt x="15358" y="5910"/>
                  </a:cubicBezTo>
                  <a:cubicBezTo>
                    <a:pt x="15182" y="5900"/>
                    <a:pt x="15090" y="5808"/>
                    <a:pt x="15085" y="5630"/>
                  </a:cubicBezTo>
                  <a:cubicBezTo>
                    <a:pt x="14526" y="4997"/>
                    <a:pt x="14800" y="4212"/>
                    <a:pt x="14870" y="3540"/>
                  </a:cubicBezTo>
                  <a:cubicBezTo>
                    <a:pt x="14929" y="2972"/>
                    <a:pt x="14719" y="2451"/>
                    <a:pt x="14816" y="1908"/>
                  </a:cubicBezTo>
                  <a:lnTo>
                    <a:pt x="14816" y="1908"/>
                  </a:lnTo>
                  <a:cubicBezTo>
                    <a:pt x="14723" y="1932"/>
                    <a:pt x="14634" y="1945"/>
                    <a:pt x="14550" y="1945"/>
                  </a:cubicBezTo>
                  <a:cubicBezTo>
                    <a:pt x="14339" y="1945"/>
                    <a:pt x="14160" y="1860"/>
                    <a:pt x="14021" y="1645"/>
                  </a:cubicBezTo>
                  <a:cubicBezTo>
                    <a:pt x="13979" y="1649"/>
                    <a:pt x="13937" y="1651"/>
                    <a:pt x="13897" y="1651"/>
                  </a:cubicBezTo>
                  <a:cubicBezTo>
                    <a:pt x="13210" y="1651"/>
                    <a:pt x="12840" y="1035"/>
                    <a:pt x="12313" y="736"/>
                  </a:cubicBezTo>
                  <a:cubicBezTo>
                    <a:pt x="11996" y="549"/>
                    <a:pt x="11706" y="441"/>
                    <a:pt x="11453" y="403"/>
                  </a:cubicBezTo>
                  <a:cubicBezTo>
                    <a:pt x="11211" y="264"/>
                    <a:pt x="10970" y="140"/>
                    <a:pt x="10722" y="27"/>
                  </a:cubicBezTo>
                  <a:cubicBezTo>
                    <a:pt x="10707" y="16"/>
                    <a:pt x="10690" y="6"/>
                    <a:pt x="10669" y="1"/>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OR</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84" name="Google Shape;1182;p29">
              <a:extLst>
                <a:ext uri="{FF2B5EF4-FFF2-40B4-BE49-F238E27FC236}">
                  <a16:creationId xmlns:a16="http://schemas.microsoft.com/office/drawing/2014/main" id="{D86BED0B-ACDE-5CB4-0938-86C47234307F}"/>
                </a:ext>
              </a:extLst>
            </p:cNvPr>
            <p:cNvSpPr/>
            <p:nvPr/>
          </p:nvSpPr>
          <p:spPr>
            <a:xfrm>
              <a:off x="732625" y="1132775"/>
              <a:ext cx="425" cy="275"/>
            </a:xfrm>
            <a:custGeom>
              <a:avLst/>
              <a:gdLst/>
              <a:ahLst/>
              <a:cxnLst/>
              <a:rect l="l" t="t" r="r" b="b"/>
              <a:pathLst>
                <a:path w="17" h="11" extrusionOk="0">
                  <a:moveTo>
                    <a:pt x="1" y="1"/>
                  </a:moveTo>
                  <a:cubicBezTo>
                    <a:pt x="1" y="1"/>
                    <a:pt x="6" y="6"/>
                    <a:pt x="16" y="11"/>
                  </a:cubicBezTo>
                  <a:lnTo>
                    <a:pt x="1"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85" name="Google Shape;1183;p29">
              <a:extLst>
                <a:ext uri="{FF2B5EF4-FFF2-40B4-BE49-F238E27FC236}">
                  <a16:creationId xmlns:a16="http://schemas.microsoft.com/office/drawing/2014/main" id="{C089BB22-4631-37E9-6797-5A2A7FCBFB32}"/>
                </a:ext>
              </a:extLst>
            </p:cNvPr>
            <p:cNvSpPr/>
            <p:nvPr/>
          </p:nvSpPr>
          <p:spPr>
            <a:xfrm>
              <a:off x="1572700" y="777150"/>
              <a:ext cx="1386975" cy="838925"/>
            </a:xfrm>
            <a:custGeom>
              <a:avLst/>
              <a:gdLst/>
              <a:ahLst/>
              <a:cxnLst/>
              <a:rect l="l" t="t" r="r" b="b"/>
              <a:pathLst>
                <a:path w="55479" h="33557" extrusionOk="0">
                  <a:moveTo>
                    <a:pt x="920" y="1"/>
                  </a:moveTo>
                  <a:lnTo>
                    <a:pt x="920" y="16"/>
                  </a:lnTo>
                  <a:cubicBezTo>
                    <a:pt x="715" y="2014"/>
                    <a:pt x="0" y="3986"/>
                    <a:pt x="253" y="6006"/>
                  </a:cubicBezTo>
                  <a:cubicBezTo>
                    <a:pt x="425" y="6479"/>
                    <a:pt x="662" y="6956"/>
                    <a:pt x="774" y="7452"/>
                  </a:cubicBezTo>
                  <a:cubicBezTo>
                    <a:pt x="1215" y="7774"/>
                    <a:pt x="1145" y="8101"/>
                    <a:pt x="801" y="8429"/>
                  </a:cubicBezTo>
                  <a:cubicBezTo>
                    <a:pt x="747" y="8885"/>
                    <a:pt x="689" y="9326"/>
                    <a:pt x="940" y="9761"/>
                  </a:cubicBezTo>
                  <a:cubicBezTo>
                    <a:pt x="952" y="9772"/>
                    <a:pt x="962" y="9788"/>
                    <a:pt x="973" y="9805"/>
                  </a:cubicBezTo>
                  <a:cubicBezTo>
                    <a:pt x="1134" y="9922"/>
                    <a:pt x="1247" y="10073"/>
                    <a:pt x="1306" y="10256"/>
                  </a:cubicBezTo>
                  <a:cubicBezTo>
                    <a:pt x="1441" y="10400"/>
                    <a:pt x="1585" y="10534"/>
                    <a:pt x="1736" y="10670"/>
                  </a:cubicBezTo>
                  <a:cubicBezTo>
                    <a:pt x="2316" y="11169"/>
                    <a:pt x="2778" y="11647"/>
                    <a:pt x="3047" y="12378"/>
                  </a:cubicBezTo>
                  <a:cubicBezTo>
                    <a:pt x="3288" y="13028"/>
                    <a:pt x="3439" y="13758"/>
                    <a:pt x="3895" y="14285"/>
                  </a:cubicBezTo>
                  <a:cubicBezTo>
                    <a:pt x="3997" y="14441"/>
                    <a:pt x="4153" y="14558"/>
                    <a:pt x="4438" y="14747"/>
                  </a:cubicBezTo>
                  <a:cubicBezTo>
                    <a:pt x="4798" y="15004"/>
                    <a:pt x="5158" y="15240"/>
                    <a:pt x="5400" y="15547"/>
                  </a:cubicBezTo>
                  <a:cubicBezTo>
                    <a:pt x="5443" y="15569"/>
                    <a:pt x="5480" y="15590"/>
                    <a:pt x="5517" y="15612"/>
                  </a:cubicBezTo>
                  <a:cubicBezTo>
                    <a:pt x="5631" y="15671"/>
                    <a:pt x="5738" y="15741"/>
                    <a:pt x="5835" y="15810"/>
                  </a:cubicBezTo>
                  <a:cubicBezTo>
                    <a:pt x="5943" y="16078"/>
                    <a:pt x="5980" y="16363"/>
                    <a:pt x="5948" y="16681"/>
                  </a:cubicBezTo>
                  <a:cubicBezTo>
                    <a:pt x="5878" y="16745"/>
                    <a:pt x="5787" y="16809"/>
                    <a:pt x="5673" y="16874"/>
                  </a:cubicBezTo>
                  <a:cubicBezTo>
                    <a:pt x="5749" y="16638"/>
                    <a:pt x="5749" y="16450"/>
                    <a:pt x="5700" y="16299"/>
                  </a:cubicBezTo>
                  <a:lnTo>
                    <a:pt x="5700" y="16299"/>
                  </a:lnTo>
                  <a:cubicBezTo>
                    <a:pt x="5711" y="16401"/>
                    <a:pt x="5711" y="16504"/>
                    <a:pt x="5700" y="16621"/>
                  </a:cubicBezTo>
                  <a:cubicBezTo>
                    <a:pt x="5690" y="16740"/>
                    <a:pt x="5673" y="16852"/>
                    <a:pt x="5653" y="16971"/>
                  </a:cubicBezTo>
                  <a:cubicBezTo>
                    <a:pt x="5690" y="17142"/>
                    <a:pt x="5700" y="17298"/>
                    <a:pt x="5550" y="17379"/>
                  </a:cubicBezTo>
                  <a:cubicBezTo>
                    <a:pt x="5363" y="18061"/>
                    <a:pt x="5051" y="18716"/>
                    <a:pt x="4895" y="19398"/>
                  </a:cubicBezTo>
                  <a:cubicBezTo>
                    <a:pt x="4803" y="19792"/>
                    <a:pt x="4739" y="20189"/>
                    <a:pt x="4728" y="20591"/>
                  </a:cubicBezTo>
                  <a:cubicBezTo>
                    <a:pt x="4744" y="20662"/>
                    <a:pt x="4766" y="20726"/>
                    <a:pt x="4798" y="20796"/>
                  </a:cubicBezTo>
                  <a:cubicBezTo>
                    <a:pt x="4771" y="20752"/>
                    <a:pt x="4750" y="20715"/>
                    <a:pt x="4728" y="20672"/>
                  </a:cubicBezTo>
                  <a:lnTo>
                    <a:pt x="4728" y="20710"/>
                  </a:lnTo>
                  <a:cubicBezTo>
                    <a:pt x="4728" y="20855"/>
                    <a:pt x="4674" y="21005"/>
                    <a:pt x="4535" y="21075"/>
                  </a:cubicBezTo>
                  <a:cubicBezTo>
                    <a:pt x="4314" y="21188"/>
                    <a:pt x="3950" y="21446"/>
                    <a:pt x="3766" y="21741"/>
                  </a:cubicBezTo>
                  <a:lnTo>
                    <a:pt x="3766" y="22386"/>
                  </a:lnTo>
                  <a:cubicBezTo>
                    <a:pt x="3794" y="22418"/>
                    <a:pt x="3826" y="22450"/>
                    <a:pt x="3863" y="22482"/>
                  </a:cubicBezTo>
                  <a:cubicBezTo>
                    <a:pt x="4071" y="22657"/>
                    <a:pt x="4303" y="22717"/>
                    <a:pt x="4542" y="22717"/>
                  </a:cubicBezTo>
                  <a:cubicBezTo>
                    <a:pt x="4804" y="22717"/>
                    <a:pt x="5074" y="22644"/>
                    <a:pt x="5330" y="22569"/>
                  </a:cubicBezTo>
                  <a:cubicBezTo>
                    <a:pt x="5552" y="22507"/>
                    <a:pt x="5808" y="22434"/>
                    <a:pt x="6052" y="22434"/>
                  </a:cubicBezTo>
                  <a:cubicBezTo>
                    <a:pt x="6062" y="22434"/>
                    <a:pt x="6072" y="22435"/>
                    <a:pt x="6082" y="22435"/>
                  </a:cubicBezTo>
                  <a:cubicBezTo>
                    <a:pt x="6141" y="22370"/>
                    <a:pt x="6201" y="22311"/>
                    <a:pt x="6276" y="22230"/>
                  </a:cubicBezTo>
                  <a:cubicBezTo>
                    <a:pt x="6399" y="22289"/>
                    <a:pt x="6555" y="22311"/>
                    <a:pt x="6598" y="22391"/>
                  </a:cubicBezTo>
                  <a:cubicBezTo>
                    <a:pt x="6640" y="22467"/>
                    <a:pt x="6620" y="22557"/>
                    <a:pt x="6523" y="22569"/>
                  </a:cubicBezTo>
                  <a:cubicBezTo>
                    <a:pt x="6544" y="22584"/>
                    <a:pt x="6571" y="22596"/>
                    <a:pt x="6593" y="22611"/>
                  </a:cubicBezTo>
                  <a:cubicBezTo>
                    <a:pt x="7592" y="23466"/>
                    <a:pt x="7377" y="25110"/>
                    <a:pt x="7382" y="26281"/>
                  </a:cubicBezTo>
                  <a:cubicBezTo>
                    <a:pt x="7382" y="27533"/>
                    <a:pt x="7694" y="28810"/>
                    <a:pt x="8167" y="29971"/>
                  </a:cubicBezTo>
                  <a:cubicBezTo>
                    <a:pt x="8430" y="30610"/>
                    <a:pt x="8757" y="31352"/>
                    <a:pt x="9311" y="31798"/>
                  </a:cubicBezTo>
                  <a:cubicBezTo>
                    <a:pt x="9595" y="32027"/>
                    <a:pt x="9884" y="32102"/>
                    <a:pt x="10178" y="32102"/>
                  </a:cubicBezTo>
                  <a:cubicBezTo>
                    <a:pt x="10256" y="32102"/>
                    <a:pt x="10333" y="32097"/>
                    <a:pt x="10412" y="32088"/>
                  </a:cubicBezTo>
                  <a:cubicBezTo>
                    <a:pt x="10717" y="31828"/>
                    <a:pt x="11035" y="31750"/>
                    <a:pt x="11353" y="31750"/>
                  </a:cubicBezTo>
                  <a:cubicBezTo>
                    <a:pt x="11832" y="31750"/>
                    <a:pt x="12311" y="31927"/>
                    <a:pt x="12749" y="31927"/>
                  </a:cubicBezTo>
                  <a:cubicBezTo>
                    <a:pt x="12842" y="31927"/>
                    <a:pt x="12933" y="31919"/>
                    <a:pt x="13023" y="31900"/>
                  </a:cubicBezTo>
                  <a:lnTo>
                    <a:pt x="13023" y="31900"/>
                  </a:lnTo>
                  <a:cubicBezTo>
                    <a:pt x="13002" y="31916"/>
                    <a:pt x="12975" y="31927"/>
                    <a:pt x="12948" y="31944"/>
                  </a:cubicBezTo>
                  <a:cubicBezTo>
                    <a:pt x="13028" y="31944"/>
                    <a:pt x="13114" y="31944"/>
                    <a:pt x="13195" y="31937"/>
                  </a:cubicBezTo>
                  <a:lnTo>
                    <a:pt x="13233" y="31937"/>
                  </a:lnTo>
                  <a:cubicBezTo>
                    <a:pt x="13206" y="31922"/>
                    <a:pt x="13184" y="31905"/>
                    <a:pt x="13163" y="31884"/>
                  </a:cubicBezTo>
                  <a:lnTo>
                    <a:pt x="13163" y="31884"/>
                  </a:lnTo>
                  <a:cubicBezTo>
                    <a:pt x="13208" y="31888"/>
                    <a:pt x="13253" y="31889"/>
                    <a:pt x="13299" y="31889"/>
                  </a:cubicBezTo>
                  <a:cubicBezTo>
                    <a:pt x="13578" y="31889"/>
                    <a:pt x="13865" y="31836"/>
                    <a:pt x="14144" y="31836"/>
                  </a:cubicBezTo>
                  <a:cubicBezTo>
                    <a:pt x="14410" y="31836"/>
                    <a:pt x="14669" y="31884"/>
                    <a:pt x="14909" y="32072"/>
                  </a:cubicBezTo>
                  <a:cubicBezTo>
                    <a:pt x="15161" y="32122"/>
                    <a:pt x="15414" y="32163"/>
                    <a:pt x="15655" y="32163"/>
                  </a:cubicBezTo>
                  <a:cubicBezTo>
                    <a:pt x="16063" y="32163"/>
                    <a:pt x="16437" y="32047"/>
                    <a:pt x="16714" y="31659"/>
                  </a:cubicBezTo>
                  <a:cubicBezTo>
                    <a:pt x="16843" y="31476"/>
                    <a:pt x="16977" y="31374"/>
                    <a:pt x="17106" y="31331"/>
                  </a:cubicBezTo>
                  <a:cubicBezTo>
                    <a:pt x="17240" y="31207"/>
                    <a:pt x="17353" y="31143"/>
                    <a:pt x="17455" y="31126"/>
                  </a:cubicBezTo>
                  <a:cubicBezTo>
                    <a:pt x="17515" y="31138"/>
                    <a:pt x="17573" y="31153"/>
                    <a:pt x="17632" y="31170"/>
                  </a:cubicBezTo>
                  <a:cubicBezTo>
                    <a:pt x="17740" y="31245"/>
                    <a:pt x="17820" y="31406"/>
                    <a:pt x="17879" y="31653"/>
                  </a:cubicBezTo>
                  <a:cubicBezTo>
                    <a:pt x="18148" y="31927"/>
                    <a:pt x="18390" y="32298"/>
                    <a:pt x="18583" y="32566"/>
                  </a:cubicBezTo>
                  <a:cubicBezTo>
                    <a:pt x="18611" y="32604"/>
                    <a:pt x="18631" y="32641"/>
                    <a:pt x="18658" y="32673"/>
                  </a:cubicBezTo>
                  <a:cubicBezTo>
                    <a:pt x="19030" y="32078"/>
                    <a:pt x="18981" y="31379"/>
                    <a:pt x="19050" y="30707"/>
                  </a:cubicBezTo>
                  <a:cubicBezTo>
                    <a:pt x="19117" y="30050"/>
                    <a:pt x="19379" y="29722"/>
                    <a:pt x="19993" y="29722"/>
                  </a:cubicBezTo>
                  <a:cubicBezTo>
                    <a:pt x="20077" y="29722"/>
                    <a:pt x="20167" y="29728"/>
                    <a:pt x="20265" y="29740"/>
                  </a:cubicBezTo>
                  <a:cubicBezTo>
                    <a:pt x="24272" y="30246"/>
                    <a:pt x="28280" y="30707"/>
                    <a:pt x="32288" y="31185"/>
                  </a:cubicBezTo>
                  <a:cubicBezTo>
                    <a:pt x="36424" y="31679"/>
                    <a:pt x="40561" y="32185"/>
                    <a:pt x="44703" y="32668"/>
                  </a:cubicBezTo>
                  <a:cubicBezTo>
                    <a:pt x="47212" y="32963"/>
                    <a:pt x="49731" y="33211"/>
                    <a:pt x="52240" y="33533"/>
                  </a:cubicBezTo>
                  <a:cubicBezTo>
                    <a:pt x="52364" y="33548"/>
                    <a:pt x="52476" y="33557"/>
                    <a:pt x="52576" y="33557"/>
                  </a:cubicBezTo>
                  <a:cubicBezTo>
                    <a:pt x="52696" y="33557"/>
                    <a:pt x="52799" y="33544"/>
                    <a:pt x="52885" y="33511"/>
                  </a:cubicBezTo>
                  <a:cubicBezTo>
                    <a:pt x="52917" y="33528"/>
                    <a:pt x="52944" y="33538"/>
                    <a:pt x="52976" y="33555"/>
                  </a:cubicBezTo>
                  <a:cubicBezTo>
                    <a:pt x="52976" y="33523"/>
                    <a:pt x="52981" y="33491"/>
                    <a:pt x="52981" y="33459"/>
                  </a:cubicBezTo>
                  <a:cubicBezTo>
                    <a:pt x="53137" y="33355"/>
                    <a:pt x="53217" y="33146"/>
                    <a:pt x="53234" y="32782"/>
                  </a:cubicBezTo>
                  <a:cubicBezTo>
                    <a:pt x="53261" y="32276"/>
                    <a:pt x="53341" y="31771"/>
                    <a:pt x="53460" y="31272"/>
                  </a:cubicBezTo>
                  <a:cubicBezTo>
                    <a:pt x="53519" y="30848"/>
                    <a:pt x="53594" y="30422"/>
                    <a:pt x="53616" y="29993"/>
                  </a:cubicBezTo>
                  <a:cubicBezTo>
                    <a:pt x="53626" y="29762"/>
                    <a:pt x="53631" y="29536"/>
                    <a:pt x="53653" y="29311"/>
                  </a:cubicBezTo>
                  <a:lnTo>
                    <a:pt x="53653" y="29311"/>
                  </a:lnTo>
                  <a:cubicBezTo>
                    <a:pt x="53648" y="29316"/>
                    <a:pt x="53642" y="29326"/>
                    <a:pt x="53631" y="29333"/>
                  </a:cubicBezTo>
                  <a:cubicBezTo>
                    <a:pt x="53728" y="28714"/>
                    <a:pt x="53809" y="28161"/>
                    <a:pt x="53889" y="27635"/>
                  </a:cubicBezTo>
                  <a:lnTo>
                    <a:pt x="53889" y="27275"/>
                  </a:lnTo>
                  <a:cubicBezTo>
                    <a:pt x="53921" y="27226"/>
                    <a:pt x="53948" y="27183"/>
                    <a:pt x="53986" y="27141"/>
                  </a:cubicBezTo>
                  <a:cubicBezTo>
                    <a:pt x="53970" y="27114"/>
                    <a:pt x="53959" y="27087"/>
                    <a:pt x="53943" y="27060"/>
                  </a:cubicBezTo>
                  <a:cubicBezTo>
                    <a:pt x="53954" y="27049"/>
                    <a:pt x="53964" y="27038"/>
                    <a:pt x="53976" y="27033"/>
                  </a:cubicBezTo>
                  <a:cubicBezTo>
                    <a:pt x="54055" y="26506"/>
                    <a:pt x="54132" y="26013"/>
                    <a:pt x="54201" y="25512"/>
                  </a:cubicBezTo>
                  <a:cubicBezTo>
                    <a:pt x="54190" y="25195"/>
                    <a:pt x="54260" y="24890"/>
                    <a:pt x="54335" y="24578"/>
                  </a:cubicBezTo>
                  <a:cubicBezTo>
                    <a:pt x="54362" y="24465"/>
                    <a:pt x="54395" y="24352"/>
                    <a:pt x="54422" y="24233"/>
                  </a:cubicBezTo>
                  <a:cubicBezTo>
                    <a:pt x="54454" y="24104"/>
                    <a:pt x="54480" y="23970"/>
                    <a:pt x="54502" y="23836"/>
                  </a:cubicBezTo>
                  <a:cubicBezTo>
                    <a:pt x="54502" y="23821"/>
                    <a:pt x="54507" y="23804"/>
                    <a:pt x="54507" y="23789"/>
                  </a:cubicBezTo>
                  <a:cubicBezTo>
                    <a:pt x="54544" y="23536"/>
                    <a:pt x="54544" y="23278"/>
                    <a:pt x="54480" y="23015"/>
                  </a:cubicBezTo>
                  <a:cubicBezTo>
                    <a:pt x="54330" y="21134"/>
                    <a:pt x="54260" y="19264"/>
                    <a:pt x="55012" y="17476"/>
                  </a:cubicBezTo>
                  <a:lnTo>
                    <a:pt x="55012" y="16078"/>
                  </a:lnTo>
                  <a:cubicBezTo>
                    <a:pt x="54658" y="15864"/>
                    <a:pt x="54802" y="15520"/>
                    <a:pt x="54824" y="15235"/>
                  </a:cubicBezTo>
                  <a:cubicBezTo>
                    <a:pt x="55012" y="12711"/>
                    <a:pt x="55178" y="10186"/>
                    <a:pt x="55447" y="7666"/>
                  </a:cubicBezTo>
                  <a:cubicBezTo>
                    <a:pt x="55479" y="7343"/>
                    <a:pt x="55469" y="7124"/>
                    <a:pt x="55377" y="6973"/>
                  </a:cubicBezTo>
                  <a:cubicBezTo>
                    <a:pt x="53701" y="6877"/>
                    <a:pt x="52042" y="6785"/>
                    <a:pt x="50408" y="6737"/>
                  </a:cubicBezTo>
                  <a:cubicBezTo>
                    <a:pt x="41303" y="6473"/>
                    <a:pt x="31745" y="5082"/>
                    <a:pt x="22821" y="3304"/>
                  </a:cubicBezTo>
                  <a:cubicBezTo>
                    <a:pt x="20377" y="2820"/>
                    <a:pt x="17986" y="2111"/>
                    <a:pt x="15548" y="1601"/>
                  </a:cubicBezTo>
                  <a:lnTo>
                    <a:pt x="15548" y="1601"/>
                  </a:lnTo>
                  <a:cubicBezTo>
                    <a:pt x="15549" y="1601"/>
                    <a:pt x="15549" y="1601"/>
                    <a:pt x="15549" y="1601"/>
                  </a:cubicBezTo>
                  <a:cubicBezTo>
                    <a:pt x="15525" y="1601"/>
                    <a:pt x="12773" y="1212"/>
                    <a:pt x="13187" y="1212"/>
                  </a:cubicBezTo>
                  <a:cubicBezTo>
                    <a:pt x="13258" y="1212"/>
                    <a:pt x="13425" y="1224"/>
                    <a:pt x="13716" y="1251"/>
                  </a:cubicBezTo>
                  <a:cubicBezTo>
                    <a:pt x="12899" y="1171"/>
                    <a:pt x="12088" y="1096"/>
                    <a:pt x="11272" y="1037"/>
                  </a:cubicBezTo>
                  <a:cubicBezTo>
                    <a:pt x="7914" y="779"/>
                    <a:pt x="4304" y="698"/>
                    <a:pt x="920"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MT</a:t>
              </a:r>
              <a:endParaRPr kumimoji="0"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186" name="Google Shape;1184;p29">
              <a:extLst>
                <a:ext uri="{FF2B5EF4-FFF2-40B4-BE49-F238E27FC236}">
                  <a16:creationId xmlns:a16="http://schemas.microsoft.com/office/drawing/2014/main" id="{262D1E81-8DC1-D0D9-3E47-AA7426954EE2}"/>
                </a:ext>
              </a:extLst>
            </p:cNvPr>
            <p:cNvSpPr/>
            <p:nvPr/>
          </p:nvSpPr>
          <p:spPr>
            <a:xfrm>
              <a:off x="2853300" y="1957275"/>
              <a:ext cx="1112350" cy="564100"/>
            </a:xfrm>
            <a:custGeom>
              <a:avLst/>
              <a:gdLst/>
              <a:ahLst/>
              <a:cxnLst/>
              <a:rect l="l" t="t" r="r" b="b"/>
              <a:pathLst>
                <a:path w="44494" h="22564" extrusionOk="0">
                  <a:moveTo>
                    <a:pt x="1425" y="0"/>
                  </a:moveTo>
                  <a:cubicBezTo>
                    <a:pt x="1418" y="38"/>
                    <a:pt x="1418" y="75"/>
                    <a:pt x="1413" y="107"/>
                  </a:cubicBezTo>
                  <a:cubicBezTo>
                    <a:pt x="1403" y="263"/>
                    <a:pt x="1393" y="424"/>
                    <a:pt x="1381" y="580"/>
                  </a:cubicBezTo>
                  <a:cubicBezTo>
                    <a:pt x="1199" y="720"/>
                    <a:pt x="1102" y="978"/>
                    <a:pt x="1070" y="1435"/>
                  </a:cubicBezTo>
                  <a:cubicBezTo>
                    <a:pt x="818" y="5335"/>
                    <a:pt x="484" y="9236"/>
                    <a:pt x="129" y="13129"/>
                  </a:cubicBezTo>
                  <a:cubicBezTo>
                    <a:pt x="114" y="13291"/>
                    <a:pt x="119" y="13420"/>
                    <a:pt x="129" y="13533"/>
                  </a:cubicBezTo>
                  <a:cubicBezTo>
                    <a:pt x="92" y="13613"/>
                    <a:pt x="49" y="13684"/>
                    <a:pt x="0" y="13753"/>
                  </a:cubicBezTo>
                  <a:cubicBezTo>
                    <a:pt x="71" y="13759"/>
                    <a:pt x="141" y="13764"/>
                    <a:pt x="205" y="13774"/>
                  </a:cubicBezTo>
                  <a:cubicBezTo>
                    <a:pt x="322" y="13979"/>
                    <a:pt x="560" y="14054"/>
                    <a:pt x="957" y="14081"/>
                  </a:cubicBezTo>
                  <a:cubicBezTo>
                    <a:pt x="3707" y="14280"/>
                    <a:pt x="6447" y="14586"/>
                    <a:pt x="9198" y="14748"/>
                  </a:cubicBezTo>
                  <a:cubicBezTo>
                    <a:pt x="10133" y="14800"/>
                    <a:pt x="10282" y="15182"/>
                    <a:pt x="10218" y="15972"/>
                  </a:cubicBezTo>
                  <a:cubicBezTo>
                    <a:pt x="10106" y="17433"/>
                    <a:pt x="10084" y="18906"/>
                    <a:pt x="9967" y="20366"/>
                  </a:cubicBezTo>
                  <a:cubicBezTo>
                    <a:pt x="9934" y="20780"/>
                    <a:pt x="9960" y="21070"/>
                    <a:pt x="10121" y="21259"/>
                  </a:cubicBezTo>
                  <a:cubicBezTo>
                    <a:pt x="10116" y="21296"/>
                    <a:pt x="10116" y="21333"/>
                    <a:pt x="10111" y="21371"/>
                  </a:cubicBezTo>
                  <a:cubicBezTo>
                    <a:pt x="10143" y="21360"/>
                    <a:pt x="10175" y="21349"/>
                    <a:pt x="10208" y="21339"/>
                  </a:cubicBezTo>
                  <a:cubicBezTo>
                    <a:pt x="10369" y="21462"/>
                    <a:pt x="10622" y="21527"/>
                    <a:pt x="11008" y="21537"/>
                  </a:cubicBezTo>
                  <a:cubicBezTo>
                    <a:pt x="21720" y="21844"/>
                    <a:pt x="32438" y="22204"/>
                    <a:pt x="43150" y="22553"/>
                  </a:cubicBezTo>
                  <a:cubicBezTo>
                    <a:pt x="43282" y="22558"/>
                    <a:pt x="43414" y="22563"/>
                    <a:pt x="43539" y="22563"/>
                  </a:cubicBezTo>
                  <a:cubicBezTo>
                    <a:pt x="43847" y="22563"/>
                    <a:pt x="44118" y="22530"/>
                    <a:pt x="44278" y="22370"/>
                  </a:cubicBezTo>
                  <a:cubicBezTo>
                    <a:pt x="44434" y="22219"/>
                    <a:pt x="44494" y="21961"/>
                    <a:pt x="44392" y="21505"/>
                  </a:cubicBezTo>
                  <a:cubicBezTo>
                    <a:pt x="44236" y="21484"/>
                    <a:pt x="44149" y="21388"/>
                    <a:pt x="44122" y="21237"/>
                  </a:cubicBezTo>
                  <a:cubicBezTo>
                    <a:pt x="43891" y="21130"/>
                    <a:pt x="43779" y="20962"/>
                    <a:pt x="43849" y="20699"/>
                  </a:cubicBezTo>
                  <a:cubicBezTo>
                    <a:pt x="43289" y="20441"/>
                    <a:pt x="43440" y="19749"/>
                    <a:pt x="43064" y="19372"/>
                  </a:cubicBezTo>
                  <a:cubicBezTo>
                    <a:pt x="42870" y="19313"/>
                    <a:pt x="42741" y="19211"/>
                    <a:pt x="42656" y="19082"/>
                  </a:cubicBezTo>
                  <a:cubicBezTo>
                    <a:pt x="42607" y="19007"/>
                    <a:pt x="42575" y="18921"/>
                    <a:pt x="42554" y="18824"/>
                  </a:cubicBezTo>
                  <a:cubicBezTo>
                    <a:pt x="42543" y="18802"/>
                    <a:pt x="42527" y="18782"/>
                    <a:pt x="42516" y="18755"/>
                  </a:cubicBezTo>
                  <a:cubicBezTo>
                    <a:pt x="42468" y="18636"/>
                    <a:pt x="42431" y="18512"/>
                    <a:pt x="42387" y="18390"/>
                  </a:cubicBezTo>
                  <a:cubicBezTo>
                    <a:pt x="42103" y="18046"/>
                    <a:pt x="42017" y="17674"/>
                    <a:pt x="42032" y="17294"/>
                  </a:cubicBezTo>
                  <a:cubicBezTo>
                    <a:pt x="41781" y="16364"/>
                    <a:pt x="41603" y="15413"/>
                    <a:pt x="41426" y="14463"/>
                  </a:cubicBezTo>
                  <a:cubicBezTo>
                    <a:pt x="41055" y="14446"/>
                    <a:pt x="41179" y="14081"/>
                    <a:pt x="41265" y="13898"/>
                  </a:cubicBezTo>
                  <a:cubicBezTo>
                    <a:pt x="41281" y="13871"/>
                    <a:pt x="41286" y="13845"/>
                    <a:pt x="41297" y="13823"/>
                  </a:cubicBezTo>
                  <a:cubicBezTo>
                    <a:pt x="41157" y="13146"/>
                    <a:pt x="40996" y="12480"/>
                    <a:pt x="40787" y="11835"/>
                  </a:cubicBezTo>
                  <a:cubicBezTo>
                    <a:pt x="40717" y="11792"/>
                    <a:pt x="40668" y="11723"/>
                    <a:pt x="40658" y="11615"/>
                  </a:cubicBezTo>
                  <a:cubicBezTo>
                    <a:pt x="40410" y="11384"/>
                    <a:pt x="40395" y="11116"/>
                    <a:pt x="40421" y="10836"/>
                  </a:cubicBezTo>
                  <a:cubicBezTo>
                    <a:pt x="40217" y="10342"/>
                    <a:pt x="40013" y="9853"/>
                    <a:pt x="39815" y="9370"/>
                  </a:cubicBezTo>
                  <a:cubicBezTo>
                    <a:pt x="39416" y="8859"/>
                    <a:pt x="39153" y="8306"/>
                    <a:pt x="39163" y="7661"/>
                  </a:cubicBezTo>
                  <a:cubicBezTo>
                    <a:pt x="38826" y="6700"/>
                    <a:pt x="38557" y="5716"/>
                    <a:pt x="38407" y="4674"/>
                  </a:cubicBezTo>
                  <a:cubicBezTo>
                    <a:pt x="38396" y="4583"/>
                    <a:pt x="38364" y="4394"/>
                    <a:pt x="38364" y="4394"/>
                  </a:cubicBezTo>
                  <a:cubicBezTo>
                    <a:pt x="38364" y="4394"/>
                    <a:pt x="38390" y="4126"/>
                    <a:pt x="38332" y="4126"/>
                  </a:cubicBezTo>
                  <a:cubicBezTo>
                    <a:pt x="38328" y="4098"/>
                    <a:pt x="38309" y="4089"/>
                    <a:pt x="38285" y="4089"/>
                  </a:cubicBezTo>
                  <a:cubicBezTo>
                    <a:pt x="38233" y="4089"/>
                    <a:pt x="38159" y="4131"/>
                    <a:pt x="38159" y="4131"/>
                  </a:cubicBezTo>
                  <a:cubicBezTo>
                    <a:pt x="38159" y="4131"/>
                    <a:pt x="37884" y="4139"/>
                    <a:pt x="37540" y="4139"/>
                  </a:cubicBezTo>
                  <a:cubicBezTo>
                    <a:pt x="37196" y="4139"/>
                    <a:pt x="36784" y="4131"/>
                    <a:pt x="36510" y="4099"/>
                  </a:cubicBezTo>
                  <a:cubicBezTo>
                    <a:pt x="36108" y="3782"/>
                    <a:pt x="35640" y="3578"/>
                    <a:pt x="35151" y="3492"/>
                  </a:cubicBezTo>
                  <a:cubicBezTo>
                    <a:pt x="34980" y="3365"/>
                    <a:pt x="34808" y="3295"/>
                    <a:pt x="34636" y="3295"/>
                  </a:cubicBezTo>
                  <a:cubicBezTo>
                    <a:pt x="34475" y="3295"/>
                    <a:pt x="34313" y="3357"/>
                    <a:pt x="34152" y="3492"/>
                  </a:cubicBezTo>
                  <a:cubicBezTo>
                    <a:pt x="34135" y="3492"/>
                    <a:pt x="34114" y="3498"/>
                    <a:pt x="34098" y="3498"/>
                  </a:cubicBezTo>
                  <a:cubicBezTo>
                    <a:pt x="33991" y="3519"/>
                    <a:pt x="33884" y="3546"/>
                    <a:pt x="33775" y="3583"/>
                  </a:cubicBezTo>
                  <a:cubicBezTo>
                    <a:pt x="33716" y="3583"/>
                    <a:pt x="33668" y="3600"/>
                    <a:pt x="33626" y="3632"/>
                  </a:cubicBezTo>
                  <a:cubicBezTo>
                    <a:pt x="33282" y="3750"/>
                    <a:pt x="32949" y="3890"/>
                    <a:pt x="32572" y="3900"/>
                  </a:cubicBezTo>
                  <a:cubicBezTo>
                    <a:pt x="32558" y="3902"/>
                    <a:pt x="32543" y="3903"/>
                    <a:pt x="32529" y="3903"/>
                  </a:cubicBezTo>
                  <a:cubicBezTo>
                    <a:pt x="32491" y="3903"/>
                    <a:pt x="32454" y="3898"/>
                    <a:pt x="32422" y="3890"/>
                  </a:cubicBezTo>
                  <a:cubicBezTo>
                    <a:pt x="32255" y="3793"/>
                    <a:pt x="32111" y="3665"/>
                    <a:pt x="31965" y="3514"/>
                  </a:cubicBezTo>
                  <a:cubicBezTo>
                    <a:pt x="31836" y="3273"/>
                    <a:pt x="31745" y="2982"/>
                    <a:pt x="31519" y="2832"/>
                  </a:cubicBezTo>
                  <a:cubicBezTo>
                    <a:pt x="31331" y="2706"/>
                    <a:pt x="31143" y="2662"/>
                    <a:pt x="30945" y="2662"/>
                  </a:cubicBezTo>
                  <a:cubicBezTo>
                    <a:pt x="30854" y="2662"/>
                    <a:pt x="30761" y="2671"/>
                    <a:pt x="30665" y="2686"/>
                  </a:cubicBezTo>
                  <a:cubicBezTo>
                    <a:pt x="30628" y="2681"/>
                    <a:pt x="30592" y="2679"/>
                    <a:pt x="30555" y="2679"/>
                  </a:cubicBezTo>
                  <a:cubicBezTo>
                    <a:pt x="30309" y="2679"/>
                    <a:pt x="30070" y="2778"/>
                    <a:pt x="29827" y="2854"/>
                  </a:cubicBezTo>
                  <a:cubicBezTo>
                    <a:pt x="29661" y="2837"/>
                    <a:pt x="29510" y="2757"/>
                    <a:pt x="29429" y="2525"/>
                  </a:cubicBezTo>
                  <a:cubicBezTo>
                    <a:pt x="29344" y="2306"/>
                    <a:pt x="29312" y="2133"/>
                    <a:pt x="29166" y="1934"/>
                  </a:cubicBezTo>
                  <a:cubicBezTo>
                    <a:pt x="28957" y="1644"/>
                    <a:pt x="28543" y="1629"/>
                    <a:pt x="28221" y="1612"/>
                  </a:cubicBezTo>
                  <a:cubicBezTo>
                    <a:pt x="27522" y="1569"/>
                    <a:pt x="26825" y="1413"/>
                    <a:pt x="26126" y="1317"/>
                  </a:cubicBezTo>
                  <a:lnTo>
                    <a:pt x="24046" y="1210"/>
                  </a:lnTo>
                  <a:cubicBezTo>
                    <a:pt x="23415" y="1218"/>
                    <a:pt x="22779" y="1240"/>
                    <a:pt x="22152" y="1240"/>
                  </a:cubicBezTo>
                  <a:cubicBezTo>
                    <a:pt x="21995" y="1240"/>
                    <a:pt x="21838" y="1239"/>
                    <a:pt x="21683" y="1235"/>
                  </a:cubicBezTo>
                  <a:cubicBezTo>
                    <a:pt x="20195" y="1210"/>
                    <a:pt x="18712" y="1042"/>
                    <a:pt x="17224" y="1021"/>
                  </a:cubicBezTo>
                  <a:cubicBezTo>
                    <a:pt x="17202" y="1021"/>
                    <a:pt x="17187" y="1016"/>
                    <a:pt x="17165" y="1016"/>
                  </a:cubicBezTo>
                  <a:cubicBezTo>
                    <a:pt x="15279" y="913"/>
                    <a:pt x="13388" y="811"/>
                    <a:pt x="11497" y="709"/>
                  </a:cubicBezTo>
                  <a:lnTo>
                    <a:pt x="11497" y="720"/>
                  </a:lnTo>
                  <a:cubicBezTo>
                    <a:pt x="10584" y="645"/>
                    <a:pt x="9670" y="559"/>
                    <a:pt x="8762" y="526"/>
                  </a:cubicBezTo>
                  <a:cubicBezTo>
                    <a:pt x="8564" y="473"/>
                    <a:pt x="8387" y="473"/>
                    <a:pt x="8209" y="468"/>
                  </a:cubicBezTo>
                  <a:cubicBezTo>
                    <a:pt x="6216" y="360"/>
                    <a:pt x="4217" y="204"/>
                    <a:pt x="2219" y="183"/>
                  </a:cubicBezTo>
                  <a:cubicBezTo>
                    <a:pt x="1827" y="178"/>
                    <a:pt x="1580" y="124"/>
                    <a:pt x="1425" y="0"/>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latin typeface="Segoe UI" panose="020B0502040204020203" pitchFamily="34" charset="0"/>
                  <a:ea typeface="+mn-ea"/>
                  <a:cs typeface="+mn-cs"/>
                </a:rPr>
                <a:t>NE</a:t>
              </a:r>
              <a:endParaRPr kumimoji="0" sz="1000" b="0" i="0" u="none" strike="noStrike" kern="1200" cap="none" spc="0" normalizeH="0" baseline="0" noProof="0" dirty="0">
                <a:ln>
                  <a:noFill/>
                </a:ln>
                <a:effectLst/>
                <a:uLnTx/>
                <a:uFillTx/>
                <a:latin typeface="Segoe UI" panose="020B0502040204020203" pitchFamily="34" charset="0"/>
                <a:ea typeface="+mn-ea"/>
                <a:cs typeface="+mn-cs"/>
              </a:endParaRPr>
            </a:p>
          </p:txBody>
        </p:sp>
        <p:sp>
          <p:nvSpPr>
            <p:cNvPr id="187" name="Google Shape;1185;p29">
              <a:extLst>
                <a:ext uri="{FF2B5EF4-FFF2-40B4-BE49-F238E27FC236}">
                  <a16:creationId xmlns:a16="http://schemas.microsoft.com/office/drawing/2014/main" id="{E30B9AEB-3CB1-E207-9CF5-6FE9B4128DAA}"/>
                </a:ext>
              </a:extLst>
            </p:cNvPr>
            <p:cNvSpPr/>
            <p:nvPr/>
          </p:nvSpPr>
          <p:spPr>
            <a:xfrm>
              <a:off x="1232775" y="744750"/>
              <a:ext cx="805325" cy="1287100"/>
            </a:xfrm>
            <a:custGeom>
              <a:avLst/>
              <a:gdLst/>
              <a:ahLst/>
              <a:cxnLst/>
              <a:rect l="l" t="t" r="r" b="b"/>
              <a:pathLst>
                <a:path w="32213" h="51484" extrusionOk="0">
                  <a:moveTo>
                    <a:pt x="10203" y="1"/>
                  </a:moveTo>
                  <a:cubicBezTo>
                    <a:pt x="10192" y="12"/>
                    <a:pt x="10181" y="23"/>
                    <a:pt x="10170" y="33"/>
                  </a:cubicBezTo>
                  <a:cubicBezTo>
                    <a:pt x="10197" y="335"/>
                    <a:pt x="10299" y="657"/>
                    <a:pt x="9928" y="829"/>
                  </a:cubicBezTo>
                  <a:cubicBezTo>
                    <a:pt x="9843" y="1129"/>
                    <a:pt x="9746" y="1436"/>
                    <a:pt x="9670" y="1736"/>
                  </a:cubicBezTo>
                  <a:cubicBezTo>
                    <a:pt x="9541" y="2242"/>
                    <a:pt x="9466" y="2757"/>
                    <a:pt x="9617" y="3300"/>
                  </a:cubicBezTo>
                  <a:cubicBezTo>
                    <a:pt x="8725" y="7329"/>
                    <a:pt x="7839" y="11364"/>
                    <a:pt x="6947" y="15393"/>
                  </a:cubicBezTo>
                  <a:cubicBezTo>
                    <a:pt x="6866" y="15752"/>
                    <a:pt x="6930" y="16204"/>
                    <a:pt x="6436" y="16338"/>
                  </a:cubicBezTo>
                  <a:lnTo>
                    <a:pt x="6436" y="17149"/>
                  </a:lnTo>
                  <a:cubicBezTo>
                    <a:pt x="6823" y="17498"/>
                    <a:pt x="6823" y="17848"/>
                    <a:pt x="6436" y="18202"/>
                  </a:cubicBezTo>
                  <a:cubicBezTo>
                    <a:pt x="6431" y="18503"/>
                    <a:pt x="6431" y="18809"/>
                    <a:pt x="6426" y="19110"/>
                  </a:cubicBezTo>
                  <a:cubicBezTo>
                    <a:pt x="6350" y="19169"/>
                    <a:pt x="6270" y="19212"/>
                    <a:pt x="6184" y="19244"/>
                  </a:cubicBezTo>
                  <a:cubicBezTo>
                    <a:pt x="6280" y="19422"/>
                    <a:pt x="6367" y="19610"/>
                    <a:pt x="6458" y="19798"/>
                  </a:cubicBezTo>
                  <a:cubicBezTo>
                    <a:pt x="6506" y="20179"/>
                    <a:pt x="6662" y="20453"/>
                    <a:pt x="6979" y="20566"/>
                  </a:cubicBezTo>
                  <a:cubicBezTo>
                    <a:pt x="7006" y="20593"/>
                    <a:pt x="7033" y="20625"/>
                    <a:pt x="7066" y="20647"/>
                  </a:cubicBezTo>
                  <a:cubicBezTo>
                    <a:pt x="7339" y="20850"/>
                    <a:pt x="7607" y="20952"/>
                    <a:pt x="7785" y="21173"/>
                  </a:cubicBezTo>
                  <a:cubicBezTo>
                    <a:pt x="7780" y="21500"/>
                    <a:pt x="7780" y="21834"/>
                    <a:pt x="7775" y="22162"/>
                  </a:cubicBezTo>
                  <a:cubicBezTo>
                    <a:pt x="7822" y="22113"/>
                    <a:pt x="7860" y="22060"/>
                    <a:pt x="7897" y="22011"/>
                  </a:cubicBezTo>
                  <a:lnTo>
                    <a:pt x="7897" y="22011"/>
                  </a:lnTo>
                  <a:cubicBezTo>
                    <a:pt x="7860" y="22087"/>
                    <a:pt x="7812" y="22162"/>
                    <a:pt x="7763" y="22231"/>
                  </a:cubicBezTo>
                  <a:cubicBezTo>
                    <a:pt x="7758" y="22231"/>
                    <a:pt x="7758" y="22226"/>
                    <a:pt x="7758" y="22226"/>
                  </a:cubicBezTo>
                  <a:cubicBezTo>
                    <a:pt x="7575" y="22306"/>
                    <a:pt x="7452" y="22414"/>
                    <a:pt x="7468" y="22591"/>
                  </a:cubicBezTo>
                  <a:cubicBezTo>
                    <a:pt x="7441" y="22623"/>
                    <a:pt x="7409" y="22655"/>
                    <a:pt x="7382" y="22688"/>
                  </a:cubicBezTo>
                  <a:cubicBezTo>
                    <a:pt x="7378" y="22687"/>
                    <a:pt x="7374" y="22687"/>
                    <a:pt x="7370" y="22687"/>
                  </a:cubicBezTo>
                  <a:cubicBezTo>
                    <a:pt x="7271" y="22687"/>
                    <a:pt x="7230" y="22815"/>
                    <a:pt x="7183" y="22919"/>
                  </a:cubicBezTo>
                  <a:cubicBezTo>
                    <a:pt x="7183" y="22919"/>
                    <a:pt x="7188" y="22925"/>
                    <a:pt x="7195" y="22930"/>
                  </a:cubicBezTo>
                  <a:cubicBezTo>
                    <a:pt x="6904" y="23327"/>
                    <a:pt x="6565" y="23666"/>
                    <a:pt x="6275" y="24053"/>
                  </a:cubicBezTo>
                  <a:cubicBezTo>
                    <a:pt x="5937" y="24510"/>
                    <a:pt x="5680" y="25020"/>
                    <a:pt x="5400" y="25514"/>
                  </a:cubicBezTo>
                  <a:cubicBezTo>
                    <a:pt x="5093" y="26067"/>
                    <a:pt x="4733" y="26411"/>
                    <a:pt x="4223" y="26776"/>
                  </a:cubicBezTo>
                  <a:cubicBezTo>
                    <a:pt x="3954" y="26975"/>
                    <a:pt x="3729" y="27190"/>
                    <a:pt x="3541" y="27463"/>
                  </a:cubicBezTo>
                  <a:cubicBezTo>
                    <a:pt x="3186" y="27969"/>
                    <a:pt x="2987" y="28613"/>
                    <a:pt x="2779" y="29188"/>
                  </a:cubicBezTo>
                  <a:cubicBezTo>
                    <a:pt x="2752" y="29263"/>
                    <a:pt x="2719" y="29345"/>
                    <a:pt x="2687" y="29424"/>
                  </a:cubicBezTo>
                  <a:cubicBezTo>
                    <a:pt x="2467" y="29650"/>
                    <a:pt x="2348" y="29892"/>
                    <a:pt x="2494" y="30193"/>
                  </a:cubicBezTo>
                  <a:cubicBezTo>
                    <a:pt x="2482" y="30354"/>
                    <a:pt x="2509" y="30515"/>
                    <a:pt x="2601" y="30644"/>
                  </a:cubicBezTo>
                  <a:cubicBezTo>
                    <a:pt x="2730" y="30827"/>
                    <a:pt x="3036" y="30887"/>
                    <a:pt x="3230" y="30945"/>
                  </a:cubicBezTo>
                  <a:cubicBezTo>
                    <a:pt x="3262" y="30956"/>
                    <a:pt x="3288" y="30966"/>
                    <a:pt x="3320" y="30977"/>
                  </a:cubicBezTo>
                  <a:cubicBezTo>
                    <a:pt x="3379" y="31170"/>
                    <a:pt x="3439" y="31358"/>
                    <a:pt x="3503" y="31552"/>
                  </a:cubicBezTo>
                  <a:cubicBezTo>
                    <a:pt x="3530" y="31569"/>
                    <a:pt x="3563" y="31579"/>
                    <a:pt x="3595" y="31589"/>
                  </a:cubicBezTo>
                  <a:cubicBezTo>
                    <a:pt x="3563" y="31660"/>
                    <a:pt x="3525" y="31730"/>
                    <a:pt x="3488" y="31799"/>
                  </a:cubicBezTo>
                  <a:cubicBezTo>
                    <a:pt x="3481" y="31730"/>
                    <a:pt x="3476" y="31660"/>
                    <a:pt x="3476" y="31589"/>
                  </a:cubicBezTo>
                  <a:cubicBezTo>
                    <a:pt x="3089" y="31950"/>
                    <a:pt x="3208" y="32390"/>
                    <a:pt x="3245" y="32821"/>
                  </a:cubicBezTo>
                  <a:cubicBezTo>
                    <a:pt x="3208" y="32906"/>
                    <a:pt x="3143" y="32987"/>
                    <a:pt x="3015" y="33062"/>
                  </a:cubicBezTo>
                  <a:cubicBezTo>
                    <a:pt x="2901" y="33121"/>
                    <a:pt x="2789" y="33185"/>
                    <a:pt x="2714" y="33292"/>
                  </a:cubicBezTo>
                  <a:cubicBezTo>
                    <a:pt x="2579" y="33481"/>
                    <a:pt x="2504" y="33669"/>
                    <a:pt x="2456" y="33867"/>
                  </a:cubicBezTo>
                  <a:cubicBezTo>
                    <a:pt x="1812" y="35189"/>
                    <a:pt x="1800" y="36694"/>
                    <a:pt x="1435" y="38090"/>
                  </a:cubicBezTo>
                  <a:cubicBezTo>
                    <a:pt x="882" y="40185"/>
                    <a:pt x="441" y="42318"/>
                    <a:pt x="65" y="44457"/>
                  </a:cubicBezTo>
                  <a:cubicBezTo>
                    <a:pt x="0" y="44822"/>
                    <a:pt x="307" y="45880"/>
                    <a:pt x="307" y="45880"/>
                  </a:cubicBezTo>
                  <a:cubicBezTo>
                    <a:pt x="307" y="45880"/>
                    <a:pt x="774" y="45880"/>
                    <a:pt x="1264" y="45972"/>
                  </a:cubicBezTo>
                  <a:cubicBezTo>
                    <a:pt x="5770" y="46830"/>
                    <a:pt x="10277" y="47695"/>
                    <a:pt x="14780" y="48576"/>
                  </a:cubicBezTo>
                  <a:cubicBezTo>
                    <a:pt x="14812" y="48608"/>
                    <a:pt x="14844" y="48641"/>
                    <a:pt x="14871" y="48679"/>
                  </a:cubicBezTo>
                  <a:cubicBezTo>
                    <a:pt x="14909" y="48652"/>
                    <a:pt x="14946" y="48635"/>
                    <a:pt x="14989" y="48615"/>
                  </a:cubicBezTo>
                  <a:cubicBezTo>
                    <a:pt x="17825" y="49173"/>
                    <a:pt x="20668" y="49731"/>
                    <a:pt x="23498" y="50301"/>
                  </a:cubicBezTo>
                  <a:cubicBezTo>
                    <a:pt x="24626" y="50527"/>
                    <a:pt x="25873" y="50408"/>
                    <a:pt x="26850" y="51209"/>
                  </a:cubicBezTo>
                  <a:lnTo>
                    <a:pt x="26850" y="51214"/>
                  </a:lnTo>
                  <a:lnTo>
                    <a:pt x="26883" y="51214"/>
                  </a:lnTo>
                  <a:cubicBezTo>
                    <a:pt x="26910" y="51214"/>
                    <a:pt x="26937" y="51219"/>
                    <a:pt x="26964" y="51219"/>
                  </a:cubicBezTo>
                  <a:cubicBezTo>
                    <a:pt x="27358" y="51265"/>
                    <a:pt x="27744" y="51436"/>
                    <a:pt x="28141" y="51436"/>
                  </a:cubicBezTo>
                  <a:cubicBezTo>
                    <a:pt x="28301" y="51436"/>
                    <a:pt x="28464" y="51408"/>
                    <a:pt x="28630" y="51333"/>
                  </a:cubicBezTo>
                  <a:cubicBezTo>
                    <a:pt x="28867" y="51416"/>
                    <a:pt x="29065" y="51455"/>
                    <a:pt x="29234" y="51455"/>
                  </a:cubicBezTo>
                  <a:cubicBezTo>
                    <a:pt x="29348" y="51455"/>
                    <a:pt x="29448" y="51437"/>
                    <a:pt x="29537" y="51402"/>
                  </a:cubicBezTo>
                  <a:cubicBezTo>
                    <a:pt x="29558" y="51429"/>
                    <a:pt x="29580" y="51456"/>
                    <a:pt x="29602" y="51483"/>
                  </a:cubicBezTo>
                  <a:cubicBezTo>
                    <a:pt x="29612" y="51445"/>
                    <a:pt x="29617" y="51402"/>
                    <a:pt x="29629" y="51360"/>
                  </a:cubicBezTo>
                  <a:cubicBezTo>
                    <a:pt x="29913" y="51187"/>
                    <a:pt x="30048" y="50790"/>
                    <a:pt x="30118" y="50226"/>
                  </a:cubicBezTo>
                  <a:cubicBezTo>
                    <a:pt x="30773" y="45181"/>
                    <a:pt x="31498" y="40148"/>
                    <a:pt x="32180" y="35109"/>
                  </a:cubicBezTo>
                  <a:cubicBezTo>
                    <a:pt x="32213" y="34877"/>
                    <a:pt x="32148" y="34631"/>
                    <a:pt x="32104" y="34383"/>
                  </a:cubicBezTo>
                  <a:cubicBezTo>
                    <a:pt x="32131" y="34212"/>
                    <a:pt x="32153" y="34034"/>
                    <a:pt x="32180" y="33862"/>
                  </a:cubicBezTo>
                  <a:cubicBezTo>
                    <a:pt x="31987" y="33594"/>
                    <a:pt x="31745" y="33223"/>
                    <a:pt x="31476" y="32949"/>
                  </a:cubicBezTo>
                  <a:cubicBezTo>
                    <a:pt x="31417" y="32702"/>
                    <a:pt x="31337" y="32541"/>
                    <a:pt x="31229" y="32466"/>
                  </a:cubicBezTo>
                  <a:cubicBezTo>
                    <a:pt x="31170" y="32449"/>
                    <a:pt x="31112" y="32434"/>
                    <a:pt x="31052" y="32422"/>
                  </a:cubicBezTo>
                  <a:cubicBezTo>
                    <a:pt x="30950" y="32439"/>
                    <a:pt x="30837" y="32503"/>
                    <a:pt x="30703" y="32627"/>
                  </a:cubicBezTo>
                  <a:cubicBezTo>
                    <a:pt x="30574" y="32670"/>
                    <a:pt x="30440" y="32772"/>
                    <a:pt x="30311" y="32955"/>
                  </a:cubicBezTo>
                  <a:cubicBezTo>
                    <a:pt x="30034" y="33343"/>
                    <a:pt x="29660" y="33459"/>
                    <a:pt x="29252" y="33459"/>
                  </a:cubicBezTo>
                  <a:cubicBezTo>
                    <a:pt x="29011" y="33459"/>
                    <a:pt x="28758" y="33418"/>
                    <a:pt x="28506" y="33368"/>
                  </a:cubicBezTo>
                  <a:cubicBezTo>
                    <a:pt x="28266" y="33180"/>
                    <a:pt x="28007" y="33132"/>
                    <a:pt x="27741" y="33132"/>
                  </a:cubicBezTo>
                  <a:cubicBezTo>
                    <a:pt x="27462" y="33132"/>
                    <a:pt x="27175" y="33185"/>
                    <a:pt x="26896" y="33185"/>
                  </a:cubicBezTo>
                  <a:cubicBezTo>
                    <a:pt x="26850" y="33185"/>
                    <a:pt x="26805" y="33184"/>
                    <a:pt x="26760" y="33180"/>
                  </a:cubicBezTo>
                  <a:lnTo>
                    <a:pt x="26760" y="33180"/>
                  </a:lnTo>
                  <a:cubicBezTo>
                    <a:pt x="26781" y="33201"/>
                    <a:pt x="26803" y="33218"/>
                    <a:pt x="26830" y="33233"/>
                  </a:cubicBezTo>
                  <a:lnTo>
                    <a:pt x="26792" y="33233"/>
                  </a:lnTo>
                  <a:cubicBezTo>
                    <a:pt x="26711" y="33240"/>
                    <a:pt x="26625" y="33240"/>
                    <a:pt x="26545" y="33240"/>
                  </a:cubicBezTo>
                  <a:cubicBezTo>
                    <a:pt x="26572" y="33223"/>
                    <a:pt x="26599" y="33212"/>
                    <a:pt x="26620" y="33196"/>
                  </a:cubicBezTo>
                  <a:lnTo>
                    <a:pt x="26620" y="33196"/>
                  </a:lnTo>
                  <a:cubicBezTo>
                    <a:pt x="26530" y="33215"/>
                    <a:pt x="26439" y="33223"/>
                    <a:pt x="26346" y="33223"/>
                  </a:cubicBezTo>
                  <a:cubicBezTo>
                    <a:pt x="25908" y="33223"/>
                    <a:pt x="25429" y="33046"/>
                    <a:pt x="24950" y="33046"/>
                  </a:cubicBezTo>
                  <a:cubicBezTo>
                    <a:pt x="24632" y="33046"/>
                    <a:pt x="24314" y="33124"/>
                    <a:pt x="24009" y="33384"/>
                  </a:cubicBezTo>
                  <a:cubicBezTo>
                    <a:pt x="23930" y="33393"/>
                    <a:pt x="23853" y="33398"/>
                    <a:pt x="23775" y="33398"/>
                  </a:cubicBezTo>
                  <a:cubicBezTo>
                    <a:pt x="23481" y="33398"/>
                    <a:pt x="23192" y="33323"/>
                    <a:pt x="22908" y="33094"/>
                  </a:cubicBezTo>
                  <a:cubicBezTo>
                    <a:pt x="22354" y="32648"/>
                    <a:pt x="22027" y="31906"/>
                    <a:pt x="21764" y="31267"/>
                  </a:cubicBezTo>
                  <a:cubicBezTo>
                    <a:pt x="21291" y="30106"/>
                    <a:pt x="20979" y="28829"/>
                    <a:pt x="20979" y="27577"/>
                  </a:cubicBezTo>
                  <a:cubicBezTo>
                    <a:pt x="20974" y="26406"/>
                    <a:pt x="21189" y="24762"/>
                    <a:pt x="20190" y="23907"/>
                  </a:cubicBezTo>
                  <a:cubicBezTo>
                    <a:pt x="20168" y="23892"/>
                    <a:pt x="20141" y="23880"/>
                    <a:pt x="20120" y="23865"/>
                  </a:cubicBezTo>
                  <a:cubicBezTo>
                    <a:pt x="20217" y="23853"/>
                    <a:pt x="20237" y="23763"/>
                    <a:pt x="20195" y="23687"/>
                  </a:cubicBezTo>
                  <a:cubicBezTo>
                    <a:pt x="20152" y="23607"/>
                    <a:pt x="19996" y="23585"/>
                    <a:pt x="19873" y="23526"/>
                  </a:cubicBezTo>
                  <a:cubicBezTo>
                    <a:pt x="19798" y="23607"/>
                    <a:pt x="19738" y="23666"/>
                    <a:pt x="19679" y="23731"/>
                  </a:cubicBezTo>
                  <a:cubicBezTo>
                    <a:pt x="19669" y="23731"/>
                    <a:pt x="19659" y="23730"/>
                    <a:pt x="19649" y="23730"/>
                  </a:cubicBezTo>
                  <a:cubicBezTo>
                    <a:pt x="19405" y="23730"/>
                    <a:pt x="19149" y="23803"/>
                    <a:pt x="18927" y="23865"/>
                  </a:cubicBezTo>
                  <a:cubicBezTo>
                    <a:pt x="18671" y="23940"/>
                    <a:pt x="18401" y="24013"/>
                    <a:pt x="18139" y="24013"/>
                  </a:cubicBezTo>
                  <a:cubicBezTo>
                    <a:pt x="17900" y="24013"/>
                    <a:pt x="17668" y="23953"/>
                    <a:pt x="17460" y="23778"/>
                  </a:cubicBezTo>
                  <a:cubicBezTo>
                    <a:pt x="17423" y="23746"/>
                    <a:pt x="17391" y="23714"/>
                    <a:pt x="17363" y="23682"/>
                  </a:cubicBezTo>
                  <a:lnTo>
                    <a:pt x="17363" y="23037"/>
                  </a:lnTo>
                  <a:cubicBezTo>
                    <a:pt x="17547" y="22742"/>
                    <a:pt x="17911" y="22484"/>
                    <a:pt x="18132" y="22371"/>
                  </a:cubicBezTo>
                  <a:cubicBezTo>
                    <a:pt x="18271" y="22301"/>
                    <a:pt x="18325" y="22151"/>
                    <a:pt x="18325" y="22006"/>
                  </a:cubicBezTo>
                  <a:lnTo>
                    <a:pt x="18325" y="21968"/>
                  </a:lnTo>
                  <a:cubicBezTo>
                    <a:pt x="18347" y="22011"/>
                    <a:pt x="18368" y="22048"/>
                    <a:pt x="18395" y="22092"/>
                  </a:cubicBezTo>
                  <a:cubicBezTo>
                    <a:pt x="18363" y="22022"/>
                    <a:pt x="18341" y="21958"/>
                    <a:pt x="18325" y="21887"/>
                  </a:cubicBezTo>
                  <a:cubicBezTo>
                    <a:pt x="18336" y="21485"/>
                    <a:pt x="18400" y="21088"/>
                    <a:pt x="18492" y="20694"/>
                  </a:cubicBezTo>
                  <a:cubicBezTo>
                    <a:pt x="18648" y="20012"/>
                    <a:pt x="18960" y="19357"/>
                    <a:pt x="19147" y="18675"/>
                  </a:cubicBezTo>
                  <a:cubicBezTo>
                    <a:pt x="19297" y="18594"/>
                    <a:pt x="19287" y="18438"/>
                    <a:pt x="19250" y="18267"/>
                  </a:cubicBezTo>
                  <a:cubicBezTo>
                    <a:pt x="19270" y="18148"/>
                    <a:pt x="19287" y="18036"/>
                    <a:pt x="19297" y="17917"/>
                  </a:cubicBezTo>
                  <a:cubicBezTo>
                    <a:pt x="19308" y="17800"/>
                    <a:pt x="19308" y="17697"/>
                    <a:pt x="19297" y="17595"/>
                  </a:cubicBezTo>
                  <a:lnTo>
                    <a:pt x="19297" y="17595"/>
                  </a:lnTo>
                  <a:cubicBezTo>
                    <a:pt x="19346" y="17746"/>
                    <a:pt x="19346" y="17934"/>
                    <a:pt x="19270" y="18170"/>
                  </a:cubicBezTo>
                  <a:cubicBezTo>
                    <a:pt x="19384" y="18105"/>
                    <a:pt x="19475" y="18041"/>
                    <a:pt x="19545" y="17977"/>
                  </a:cubicBezTo>
                  <a:cubicBezTo>
                    <a:pt x="19577" y="17659"/>
                    <a:pt x="19540" y="17374"/>
                    <a:pt x="19432" y="17106"/>
                  </a:cubicBezTo>
                  <a:cubicBezTo>
                    <a:pt x="19335" y="17037"/>
                    <a:pt x="19228" y="16967"/>
                    <a:pt x="19114" y="16908"/>
                  </a:cubicBezTo>
                  <a:cubicBezTo>
                    <a:pt x="19077" y="16886"/>
                    <a:pt x="19040" y="16865"/>
                    <a:pt x="18997" y="16843"/>
                  </a:cubicBezTo>
                  <a:cubicBezTo>
                    <a:pt x="18755" y="16536"/>
                    <a:pt x="18395" y="16300"/>
                    <a:pt x="18035" y="16043"/>
                  </a:cubicBezTo>
                  <a:cubicBezTo>
                    <a:pt x="17750" y="15854"/>
                    <a:pt x="17594" y="15737"/>
                    <a:pt x="17492" y="15581"/>
                  </a:cubicBezTo>
                  <a:cubicBezTo>
                    <a:pt x="17036" y="15054"/>
                    <a:pt x="16885" y="14324"/>
                    <a:pt x="16644" y="13674"/>
                  </a:cubicBezTo>
                  <a:cubicBezTo>
                    <a:pt x="16375" y="12943"/>
                    <a:pt x="15913" y="12465"/>
                    <a:pt x="15333" y="11966"/>
                  </a:cubicBezTo>
                  <a:cubicBezTo>
                    <a:pt x="15182" y="11830"/>
                    <a:pt x="15038" y="11696"/>
                    <a:pt x="14903" y="11552"/>
                  </a:cubicBezTo>
                  <a:cubicBezTo>
                    <a:pt x="14844" y="11369"/>
                    <a:pt x="14731" y="11218"/>
                    <a:pt x="14570" y="11101"/>
                  </a:cubicBezTo>
                  <a:cubicBezTo>
                    <a:pt x="14559" y="11084"/>
                    <a:pt x="14549" y="11068"/>
                    <a:pt x="14537" y="11057"/>
                  </a:cubicBezTo>
                  <a:cubicBezTo>
                    <a:pt x="14286" y="10622"/>
                    <a:pt x="14344" y="10181"/>
                    <a:pt x="14398" y="9725"/>
                  </a:cubicBezTo>
                  <a:cubicBezTo>
                    <a:pt x="14742" y="9397"/>
                    <a:pt x="14812" y="9070"/>
                    <a:pt x="14371" y="8748"/>
                  </a:cubicBezTo>
                  <a:cubicBezTo>
                    <a:pt x="14259" y="8252"/>
                    <a:pt x="14022" y="7775"/>
                    <a:pt x="13850" y="7302"/>
                  </a:cubicBezTo>
                  <a:cubicBezTo>
                    <a:pt x="13597" y="5282"/>
                    <a:pt x="14312" y="3310"/>
                    <a:pt x="14517" y="1312"/>
                  </a:cubicBezTo>
                  <a:lnTo>
                    <a:pt x="14517" y="1297"/>
                  </a:lnTo>
                  <a:cubicBezTo>
                    <a:pt x="13441" y="1076"/>
                    <a:pt x="12389" y="801"/>
                    <a:pt x="11378" y="431"/>
                  </a:cubicBezTo>
                  <a:cubicBezTo>
                    <a:pt x="10981" y="286"/>
                    <a:pt x="10595" y="141"/>
                    <a:pt x="10203" y="1"/>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b"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latin typeface="Segoe UI" panose="020B0502040204020203" pitchFamily="34" charset="0"/>
                  <a:ea typeface="+mn-ea"/>
                  <a:cs typeface="+mn-cs"/>
                </a:rPr>
                <a:t>ID</a:t>
              </a:r>
              <a:endParaRPr kumimoji="0" sz="1000" b="0" i="0" u="none" strike="noStrike" kern="1200" cap="none" spc="0" normalizeH="0" baseline="0" noProof="0" dirty="0">
                <a:ln>
                  <a:noFill/>
                </a:ln>
                <a:effectLst/>
                <a:uLnTx/>
                <a:uFillTx/>
                <a:latin typeface="Segoe UI" panose="020B0502040204020203" pitchFamily="34" charset="0"/>
                <a:ea typeface="+mn-ea"/>
                <a:cs typeface="+mn-cs"/>
              </a:endParaRPr>
            </a:p>
          </p:txBody>
        </p:sp>
        <p:sp>
          <p:nvSpPr>
            <p:cNvPr id="188" name="Google Shape;1186;p29">
              <a:extLst>
                <a:ext uri="{FF2B5EF4-FFF2-40B4-BE49-F238E27FC236}">
                  <a16:creationId xmlns:a16="http://schemas.microsoft.com/office/drawing/2014/main" id="{15E9858A-6FD3-1403-943D-8E27999F1D87}"/>
                </a:ext>
              </a:extLst>
            </p:cNvPr>
            <p:cNvSpPr/>
            <p:nvPr/>
          </p:nvSpPr>
          <p:spPr>
            <a:xfrm>
              <a:off x="4070525" y="3109475"/>
              <a:ext cx="679450" cy="624050"/>
            </a:xfrm>
            <a:custGeom>
              <a:avLst/>
              <a:gdLst/>
              <a:ahLst/>
              <a:cxnLst/>
              <a:rect l="l" t="t" r="r" b="b"/>
              <a:pathLst>
                <a:path w="27178" h="24962" extrusionOk="0">
                  <a:moveTo>
                    <a:pt x="24223" y="0"/>
                  </a:moveTo>
                  <a:cubicBezTo>
                    <a:pt x="21204" y="80"/>
                    <a:pt x="18169" y="28"/>
                    <a:pt x="15172" y="323"/>
                  </a:cubicBezTo>
                  <a:cubicBezTo>
                    <a:pt x="14015" y="435"/>
                    <a:pt x="12862" y="449"/>
                    <a:pt x="11711" y="449"/>
                  </a:cubicBezTo>
                  <a:cubicBezTo>
                    <a:pt x="11329" y="449"/>
                    <a:pt x="10948" y="448"/>
                    <a:pt x="10568" y="448"/>
                  </a:cubicBezTo>
                  <a:cubicBezTo>
                    <a:pt x="9896" y="448"/>
                    <a:pt x="9224" y="452"/>
                    <a:pt x="8552" y="479"/>
                  </a:cubicBezTo>
                  <a:cubicBezTo>
                    <a:pt x="7469" y="522"/>
                    <a:pt x="6384" y="535"/>
                    <a:pt x="5295" y="535"/>
                  </a:cubicBezTo>
                  <a:cubicBezTo>
                    <a:pt x="3668" y="535"/>
                    <a:pt x="2031" y="506"/>
                    <a:pt x="370" y="506"/>
                  </a:cubicBezTo>
                  <a:cubicBezTo>
                    <a:pt x="376" y="623"/>
                    <a:pt x="387" y="737"/>
                    <a:pt x="397" y="849"/>
                  </a:cubicBezTo>
                  <a:cubicBezTo>
                    <a:pt x="273" y="796"/>
                    <a:pt x="161" y="725"/>
                    <a:pt x="64" y="623"/>
                  </a:cubicBezTo>
                  <a:cubicBezTo>
                    <a:pt x="37" y="603"/>
                    <a:pt x="22" y="575"/>
                    <a:pt x="0" y="554"/>
                  </a:cubicBezTo>
                  <a:lnTo>
                    <a:pt x="0" y="554"/>
                  </a:lnTo>
                  <a:cubicBezTo>
                    <a:pt x="27" y="1010"/>
                    <a:pt x="64" y="1466"/>
                    <a:pt x="129" y="1924"/>
                  </a:cubicBezTo>
                  <a:cubicBezTo>
                    <a:pt x="129" y="1940"/>
                    <a:pt x="129" y="1950"/>
                    <a:pt x="134" y="1967"/>
                  </a:cubicBezTo>
                  <a:cubicBezTo>
                    <a:pt x="156" y="2123"/>
                    <a:pt x="177" y="2279"/>
                    <a:pt x="204" y="2440"/>
                  </a:cubicBezTo>
                  <a:cubicBezTo>
                    <a:pt x="290" y="3181"/>
                    <a:pt x="306" y="3928"/>
                    <a:pt x="441" y="4669"/>
                  </a:cubicBezTo>
                  <a:cubicBezTo>
                    <a:pt x="585" y="5480"/>
                    <a:pt x="854" y="6281"/>
                    <a:pt x="967" y="7102"/>
                  </a:cubicBezTo>
                  <a:lnTo>
                    <a:pt x="945" y="7102"/>
                  </a:lnTo>
                  <a:cubicBezTo>
                    <a:pt x="1096" y="9928"/>
                    <a:pt x="1096" y="12748"/>
                    <a:pt x="821" y="15569"/>
                  </a:cubicBezTo>
                  <a:cubicBezTo>
                    <a:pt x="821" y="15730"/>
                    <a:pt x="816" y="15891"/>
                    <a:pt x="811" y="16053"/>
                  </a:cubicBezTo>
                  <a:cubicBezTo>
                    <a:pt x="816" y="16122"/>
                    <a:pt x="811" y="16192"/>
                    <a:pt x="811" y="16256"/>
                  </a:cubicBezTo>
                  <a:cubicBezTo>
                    <a:pt x="806" y="16429"/>
                    <a:pt x="801" y="16606"/>
                    <a:pt x="796" y="16777"/>
                  </a:cubicBezTo>
                  <a:cubicBezTo>
                    <a:pt x="796" y="17702"/>
                    <a:pt x="774" y="18626"/>
                    <a:pt x="789" y="19549"/>
                  </a:cubicBezTo>
                  <a:cubicBezTo>
                    <a:pt x="796" y="19819"/>
                    <a:pt x="725" y="19963"/>
                    <a:pt x="575" y="20012"/>
                  </a:cubicBezTo>
                  <a:cubicBezTo>
                    <a:pt x="558" y="20007"/>
                    <a:pt x="543" y="19995"/>
                    <a:pt x="526" y="19990"/>
                  </a:cubicBezTo>
                  <a:lnTo>
                    <a:pt x="526" y="19990"/>
                  </a:lnTo>
                  <a:cubicBezTo>
                    <a:pt x="526" y="20033"/>
                    <a:pt x="531" y="20071"/>
                    <a:pt x="538" y="20104"/>
                  </a:cubicBezTo>
                  <a:lnTo>
                    <a:pt x="543" y="20168"/>
                  </a:lnTo>
                  <a:cubicBezTo>
                    <a:pt x="553" y="20297"/>
                    <a:pt x="612" y="20404"/>
                    <a:pt x="699" y="20490"/>
                  </a:cubicBezTo>
                  <a:cubicBezTo>
                    <a:pt x="723" y="20493"/>
                    <a:pt x="745" y="20494"/>
                    <a:pt x="768" y="20494"/>
                  </a:cubicBezTo>
                  <a:cubicBezTo>
                    <a:pt x="791" y="20494"/>
                    <a:pt x="814" y="20493"/>
                    <a:pt x="838" y="20490"/>
                  </a:cubicBezTo>
                  <a:cubicBezTo>
                    <a:pt x="924" y="20474"/>
                    <a:pt x="977" y="20447"/>
                    <a:pt x="1010" y="20409"/>
                  </a:cubicBezTo>
                  <a:cubicBezTo>
                    <a:pt x="1949" y="20441"/>
                    <a:pt x="2938" y="20619"/>
                    <a:pt x="3664" y="21237"/>
                  </a:cubicBezTo>
                  <a:cubicBezTo>
                    <a:pt x="3729" y="21425"/>
                    <a:pt x="3782" y="21644"/>
                    <a:pt x="3739" y="21827"/>
                  </a:cubicBezTo>
                  <a:cubicBezTo>
                    <a:pt x="3648" y="22209"/>
                    <a:pt x="3717" y="22623"/>
                    <a:pt x="3717" y="23025"/>
                  </a:cubicBezTo>
                  <a:cubicBezTo>
                    <a:pt x="3717" y="23456"/>
                    <a:pt x="3690" y="24396"/>
                    <a:pt x="3690" y="24830"/>
                  </a:cubicBezTo>
                  <a:cubicBezTo>
                    <a:pt x="3746" y="24934"/>
                    <a:pt x="3871" y="24962"/>
                    <a:pt x="3987" y="24962"/>
                  </a:cubicBezTo>
                  <a:cubicBezTo>
                    <a:pt x="4118" y="24962"/>
                    <a:pt x="4238" y="24927"/>
                    <a:pt x="4238" y="24927"/>
                  </a:cubicBezTo>
                  <a:lnTo>
                    <a:pt x="4314" y="24847"/>
                  </a:lnTo>
                  <a:cubicBezTo>
                    <a:pt x="4314" y="24847"/>
                    <a:pt x="4573" y="24781"/>
                    <a:pt x="4795" y="24781"/>
                  </a:cubicBezTo>
                  <a:cubicBezTo>
                    <a:pt x="4812" y="24781"/>
                    <a:pt x="4829" y="24782"/>
                    <a:pt x="4845" y="24783"/>
                  </a:cubicBezTo>
                  <a:cubicBezTo>
                    <a:pt x="5284" y="24804"/>
                    <a:pt x="5722" y="24811"/>
                    <a:pt x="6160" y="24811"/>
                  </a:cubicBezTo>
                  <a:cubicBezTo>
                    <a:pt x="6781" y="24811"/>
                    <a:pt x="7401" y="24798"/>
                    <a:pt x="8021" y="24798"/>
                  </a:cubicBezTo>
                  <a:cubicBezTo>
                    <a:pt x="8294" y="24803"/>
                    <a:pt x="8569" y="24815"/>
                    <a:pt x="8842" y="24820"/>
                  </a:cubicBezTo>
                  <a:cubicBezTo>
                    <a:pt x="9321" y="24771"/>
                    <a:pt x="9841" y="24745"/>
                    <a:pt x="10444" y="24745"/>
                  </a:cubicBezTo>
                  <a:cubicBezTo>
                    <a:pt x="10964" y="24745"/>
                    <a:pt x="11502" y="24761"/>
                    <a:pt x="12018" y="24783"/>
                  </a:cubicBezTo>
                  <a:cubicBezTo>
                    <a:pt x="12109" y="24783"/>
                    <a:pt x="12200" y="24788"/>
                    <a:pt x="12291" y="24788"/>
                  </a:cubicBezTo>
                  <a:cubicBezTo>
                    <a:pt x="12581" y="24761"/>
                    <a:pt x="12877" y="24734"/>
                    <a:pt x="13167" y="24686"/>
                  </a:cubicBezTo>
                  <a:cubicBezTo>
                    <a:pt x="14451" y="24642"/>
                    <a:pt x="15735" y="24584"/>
                    <a:pt x="17019" y="24562"/>
                  </a:cubicBezTo>
                  <a:cubicBezTo>
                    <a:pt x="17617" y="24552"/>
                    <a:pt x="18293" y="24437"/>
                    <a:pt x="18896" y="24437"/>
                  </a:cubicBezTo>
                  <a:cubicBezTo>
                    <a:pt x="19301" y="24437"/>
                    <a:pt x="19673" y="24489"/>
                    <a:pt x="19968" y="24659"/>
                  </a:cubicBezTo>
                  <a:cubicBezTo>
                    <a:pt x="20012" y="24637"/>
                    <a:pt x="20059" y="24621"/>
                    <a:pt x="20103" y="24594"/>
                  </a:cubicBezTo>
                  <a:cubicBezTo>
                    <a:pt x="20065" y="24396"/>
                    <a:pt x="20044" y="24197"/>
                    <a:pt x="20027" y="23992"/>
                  </a:cubicBezTo>
                  <a:cubicBezTo>
                    <a:pt x="20302" y="23746"/>
                    <a:pt x="20463" y="23359"/>
                    <a:pt x="20511" y="22784"/>
                  </a:cubicBezTo>
                  <a:cubicBezTo>
                    <a:pt x="20533" y="22569"/>
                    <a:pt x="20522" y="22353"/>
                    <a:pt x="20522" y="22139"/>
                  </a:cubicBezTo>
                  <a:cubicBezTo>
                    <a:pt x="19990" y="21961"/>
                    <a:pt x="20054" y="21483"/>
                    <a:pt x="19985" y="21064"/>
                  </a:cubicBezTo>
                  <a:cubicBezTo>
                    <a:pt x="18911" y="20028"/>
                    <a:pt x="19898" y="19663"/>
                    <a:pt x="20463" y="19157"/>
                  </a:cubicBezTo>
                  <a:cubicBezTo>
                    <a:pt x="20554" y="19033"/>
                    <a:pt x="20651" y="18911"/>
                    <a:pt x="20753" y="18787"/>
                  </a:cubicBezTo>
                  <a:cubicBezTo>
                    <a:pt x="20640" y="18599"/>
                    <a:pt x="20592" y="18421"/>
                    <a:pt x="20580" y="18255"/>
                  </a:cubicBezTo>
                  <a:cubicBezTo>
                    <a:pt x="20575" y="18126"/>
                    <a:pt x="20592" y="18002"/>
                    <a:pt x="20629" y="17885"/>
                  </a:cubicBezTo>
                  <a:cubicBezTo>
                    <a:pt x="20780" y="17337"/>
                    <a:pt x="21284" y="16864"/>
                    <a:pt x="21333" y="16288"/>
                  </a:cubicBezTo>
                  <a:cubicBezTo>
                    <a:pt x="21532" y="15472"/>
                    <a:pt x="21579" y="14559"/>
                    <a:pt x="22670" y="14371"/>
                  </a:cubicBezTo>
                  <a:cubicBezTo>
                    <a:pt x="22843" y="14198"/>
                    <a:pt x="23020" y="14027"/>
                    <a:pt x="23191" y="13856"/>
                  </a:cubicBezTo>
                  <a:cubicBezTo>
                    <a:pt x="23352" y="13045"/>
                    <a:pt x="22869" y="12088"/>
                    <a:pt x="23734" y="11443"/>
                  </a:cubicBezTo>
                  <a:cubicBezTo>
                    <a:pt x="24036" y="10997"/>
                    <a:pt x="24395" y="10573"/>
                    <a:pt x="24701" y="10127"/>
                  </a:cubicBezTo>
                  <a:cubicBezTo>
                    <a:pt x="24874" y="10052"/>
                    <a:pt x="25050" y="9993"/>
                    <a:pt x="25228" y="9944"/>
                  </a:cubicBezTo>
                  <a:cubicBezTo>
                    <a:pt x="25147" y="9832"/>
                    <a:pt x="25088" y="9703"/>
                    <a:pt x="25045" y="9557"/>
                  </a:cubicBezTo>
                  <a:cubicBezTo>
                    <a:pt x="25110" y="9434"/>
                    <a:pt x="25169" y="9311"/>
                    <a:pt x="25217" y="9182"/>
                  </a:cubicBezTo>
                  <a:cubicBezTo>
                    <a:pt x="25298" y="8639"/>
                    <a:pt x="25308" y="8101"/>
                    <a:pt x="25233" y="7543"/>
                  </a:cubicBezTo>
                  <a:cubicBezTo>
                    <a:pt x="25184" y="7188"/>
                    <a:pt x="25157" y="6920"/>
                    <a:pt x="25395" y="6635"/>
                  </a:cubicBezTo>
                  <a:cubicBezTo>
                    <a:pt x="25658" y="6318"/>
                    <a:pt x="25985" y="6184"/>
                    <a:pt x="26184" y="5775"/>
                  </a:cubicBezTo>
                  <a:cubicBezTo>
                    <a:pt x="26313" y="5507"/>
                    <a:pt x="26431" y="5227"/>
                    <a:pt x="26570" y="4964"/>
                  </a:cubicBezTo>
                  <a:cubicBezTo>
                    <a:pt x="26828" y="4481"/>
                    <a:pt x="27054" y="4013"/>
                    <a:pt x="27178" y="3504"/>
                  </a:cubicBezTo>
                  <a:cubicBezTo>
                    <a:pt x="27135" y="3385"/>
                    <a:pt x="27071" y="3310"/>
                    <a:pt x="26979" y="3256"/>
                  </a:cubicBezTo>
                  <a:cubicBezTo>
                    <a:pt x="26984" y="3219"/>
                    <a:pt x="26995" y="3175"/>
                    <a:pt x="27001" y="3137"/>
                  </a:cubicBezTo>
                  <a:lnTo>
                    <a:pt x="27001" y="3137"/>
                  </a:lnTo>
                  <a:cubicBezTo>
                    <a:pt x="26962" y="3164"/>
                    <a:pt x="26920" y="3186"/>
                    <a:pt x="26877" y="3213"/>
                  </a:cubicBezTo>
                  <a:cubicBezTo>
                    <a:pt x="26797" y="3188"/>
                    <a:pt x="26706" y="3177"/>
                    <a:pt x="26604" y="3177"/>
                  </a:cubicBezTo>
                  <a:cubicBezTo>
                    <a:pt x="26487" y="3177"/>
                    <a:pt x="26355" y="3192"/>
                    <a:pt x="26211" y="3219"/>
                  </a:cubicBezTo>
                  <a:cubicBezTo>
                    <a:pt x="25576" y="3331"/>
                    <a:pt x="24932" y="3363"/>
                    <a:pt x="24287" y="3407"/>
                  </a:cubicBezTo>
                  <a:cubicBezTo>
                    <a:pt x="24068" y="3315"/>
                    <a:pt x="23858" y="3192"/>
                    <a:pt x="23675" y="3041"/>
                  </a:cubicBezTo>
                  <a:cubicBezTo>
                    <a:pt x="23605" y="2981"/>
                    <a:pt x="23552" y="2901"/>
                    <a:pt x="23520" y="2820"/>
                  </a:cubicBezTo>
                  <a:cubicBezTo>
                    <a:pt x="23557" y="2684"/>
                    <a:pt x="23636" y="2592"/>
                    <a:pt x="23804" y="2592"/>
                  </a:cubicBezTo>
                  <a:cubicBezTo>
                    <a:pt x="23854" y="2592"/>
                    <a:pt x="23911" y="2600"/>
                    <a:pt x="23976" y="2616"/>
                  </a:cubicBezTo>
                  <a:cubicBezTo>
                    <a:pt x="23902" y="2401"/>
                    <a:pt x="23980" y="2339"/>
                    <a:pt x="24121" y="2339"/>
                  </a:cubicBezTo>
                  <a:cubicBezTo>
                    <a:pt x="24163" y="2339"/>
                    <a:pt x="24211" y="2345"/>
                    <a:pt x="24261" y="2353"/>
                  </a:cubicBezTo>
                  <a:cubicBezTo>
                    <a:pt x="24341" y="1902"/>
                    <a:pt x="24718" y="1746"/>
                    <a:pt x="25061" y="1563"/>
                  </a:cubicBezTo>
                  <a:cubicBezTo>
                    <a:pt x="25179" y="1086"/>
                    <a:pt x="24911" y="682"/>
                    <a:pt x="24798" y="253"/>
                  </a:cubicBezTo>
                  <a:cubicBezTo>
                    <a:pt x="24604" y="156"/>
                    <a:pt x="24411" y="0"/>
                    <a:pt x="24223"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AR</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89" name="Google Shape;1187;p29">
              <a:extLst>
                <a:ext uri="{FF2B5EF4-FFF2-40B4-BE49-F238E27FC236}">
                  <a16:creationId xmlns:a16="http://schemas.microsoft.com/office/drawing/2014/main" id="{AB7780F0-2A54-82A6-0444-386C21E5836E}"/>
                </a:ext>
              </a:extLst>
            </p:cNvPr>
            <p:cNvSpPr/>
            <p:nvPr/>
          </p:nvSpPr>
          <p:spPr>
            <a:xfrm>
              <a:off x="4696650" y="2976750"/>
              <a:ext cx="1106175" cy="382425"/>
            </a:xfrm>
            <a:custGeom>
              <a:avLst/>
              <a:gdLst/>
              <a:ahLst/>
              <a:cxnLst/>
              <a:rect l="l" t="t" r="r" b="b"/>
              <a:pathLst>
                <a:path w="44247" h="15297" extrusionOk="0">
                  <a:moveTo>
                    <a:pt x="43640" y="1"/>
                  </a:moveTo>
                  <a:cubicBezTo>
                    <a:pt x="43406" y="1"/>
                    <a:pt x="43127" y="160"/>
                    <a:pt x="42908" y="168"/>
                  </a:cubicBezTo>
                  <a:cubicBezTo>
                    <a:pt x="40791" y="264"/>
                    <a:pt x="38707" y="587"/>
                    <a:pt x="36617" y="921"/>
                  </a:cubicBezTo>
                  <a:cubicBezTo>
                    <a:pt x="36542" y="872"/>
                    <a:pt x="36466" y="812"/>
                    <a:pt x="36402" y="737"/>
                  </a:cubicBezTo>
                  <a:cubicBezTo>
                    <a:pt x="36069" y="877"/>
                    <a:pt x="35730" y="1006"/>
                    <a:pt x="35387" y="1119"/>
                  </a:cubicBezTo>
                  <a:cubicBezTo>
                    <a:pt x="33989" y="1340"/>
                    <a:pt x="32593" y="1548"/>
                    <a:pt x="31185" y="1683"/>
                  </a:cubicBezTo>
                  <a:cubicBezTo>
                    <a:pt x="27919" y="1995"/>
                    <a:pt x="24653" y="2269"/>
                    <a:pt x="21381" y="2564"/>
                  </a:cubicBezTo>
                  <a:cubicBezTo>
                    <a:pt x="20054" y="2666"/>
                    <a:pt x="18728" y="2768"/>
                    <a:pt x="17401" y="2870"/>
                  </a:cubicBezTo>
                  <a:cubicBezTo>
                    <a:pt x="15901" y="3252"/>
                    <a:pt x="14359" y="3198"/>
                    <a:pt x="12845" y="3365"/>
                  </a:cubicBezTo>
                  <a:cubicBezTo>
                    <a:pt x="12648" y="3275"/>
                    <a:pt x="12471" y="3239"/>
                    <a:pt x="12305" y="3239"/>
                  </a:cubicBezTo>
                  <a:cubicBezTo>
                    <a:pt x="12280" y="3239"/>
                    <a:pt x="12256" y="3240"/>
                    <a:pt x="12232" y="3241"/>
                  </a:cubicBezTo>
                  <a:cubicBezTo>
                    <a:pt x="11674" y="3279"/>
                    <a:pt x="11239" y="3730"/>
                    <a:pt x="10756" y="4010"/>
                  </a:cubicBezTo>
                  <a:lnTo>
                    <a:pt x="10749" y="4010"/>
                  </a:lnTo>
                  <a:cubicBezTo>
                    <a:pt x="10541" y="4399"/>
                    <a:pt x="10242" y="4474"/>
                    <a:pt x="9922" y="4474"/>
                  </a:cubicBezTo>
                  <a:cubicBezTo>
                    <a:pt x="9723" y="4474"/>
                    <a:pt x="9516" y="4445"/>
                    <a:pt x="9318" y="4445"/>
                  </a:cubicBezTo>
                  <a:cubicBezTo>
                    <a:pt x="9242" y="4445"/>
                    <a:pt x="9167" y="4449"/>
                    <a:pt x="9095" y="4461"/>
                  </a:cubicBezTo>
                  <a:cubicBezTo>
                    <a:pt x="7409" y="4729"/>
                    <a:pt x="5656" y="4584"/>
                    <a:pt x="3992" y="5046"/>
                  </a:cubicBezTo>
                  <a:cubicBezTo>
                    <a:pt x="3928" y="5009"/>
                    <a:pt x="3858" y="4960"/>
                    <a:pt x="3799" y="4896"/>
                  </a:cubicBezTo>
                  <a:cubicBezTo>
                    <a:pt x="3787" y="4960"/>
                    <a:pt x="3782" y="5035"/>
                    <a:pt x="3777" y="5111"/>
                  </a:cubicBezTo>
                  <a:cubicBezTo>
                    <a:pt x="3600" y="5164"/>
                    <a:pt x="3422" y="5223"/>
                    <a:pt x="3251" y="5293"/>
                  </a:cubicBezTo>
                  <a:cubicBezTo>
                    <a:pt x="3229" y="5508"/>
                    <a:pt x="3213" y="5723"/>
                    <a:pt x="2981" y="5825"/>
                  </a:cubicBezTo>
                  <a:cubicBezTo>
                    <a:pt x="2879" y="6427"/>
                    <a:pt x="2788" y="7028"/>
                    <a:pt x="2676" y="7625"/>
                  </a:cubicBezTo>
                  <a:cubicBezTo>
                    <a:pt x="2665" y="7684"/>
                    <a:pt x="2643" y="7749"/>
                    <a:pt x="2633" y="7807"/>
                  </a:cubicBezTo>
                  <a:cubicBezTo>
                    <a:pt x="2450" y="8065"/>
                    <a:pt x="2219" y="8280"/>
                    <a:pt x="1956" y="8446"/>
                  </a:cubicBezTo>
                  <a:cubicBezTo>
                    <a:pt x="1950" y="8484"/>
                    <a:pt x="1939" y="8528"/>
                    <a:pt x="1934" y="8565"/>
                  </a:cubicBezTo>
                  <a:cubicBezTo>
                    <a:pt x="2026" y="8619"/>
                    <a:pt x="2090" y="8694"/>
                    <a:pt x="2133" y="8813"/>
                  </a:cubicBezTo>
                  <a:cubicBezTo>
                    <a:pt x="2009" y="9322"/>
                    <a:pt x="1783" y="9790"/>
                    <a:pt x="1525" y="10273"/>
                  </a:cubicBezTo>
                  <a:cubicBezTo>
                    <a:pt x="1386" y="10536"/>
                    <a:pt x="1268" y="10816"/>
                    <a:pt x="1139" y="11084"/>
                  </a:cubicBezTo>
                  <a:cubicBezTo>
                    <a:pt x="940" y="11493"/>
                    <a:pt x="613" y="11627"/>
                    <a:pt x="350" y="11944"/>
                  </a:cubicBezTo>
                  <a:cubicBezTo>
                    <a:pt x="112" y="12229"/>
                    <a:pt x="139" y="12497"/>
                    <a:pt x="188" y="12852"/>
                  </a:cubicBezTo>
                  <a:cubicBezTo>
                    <a:pt x="263" y="13410"/>
                    <a:pt x="253" y="13948"/>
                    <a:pt x="172" y="14491"/>
                  </a:cubicBezTo>
                  <a:cubicBezTo>
                    <a:pt x="124" y="14620"/>
                    <a:pt x="65" y="14743"/>
                    <a:pt x="0" y="14866"/>
                  </a:cubicBezTo>
                  <a:cubicBezTo>
                    <a:pt x="43" y="15012"/>
                    <a:pt x="102" y="15141"/>
                    <a:pt x="183" y="15253"/>
                  </a:cubicBezTo>
                  <a:cubicBezTo>
                    <a:pt x="397" y="15188"/>
                    <a:pt x="618" y="15146"/>
                    <a:pt x="833" y="15113"/>
                  </a:cubicBezTo>
                  <a:cubicBezTo>
                    <a:pt x="1106" y="15251"/>
                    <a:pt x="1438" y="15296"/>
                    <a:pt x="1796" y="15296"/>
                  </a:cubicBezTo>
                  <a:cubicBezTo>
                    <a:pt x="2345" y="15296"/>
                    <a:pt x="2952" y="15190"/>
                    <a:pt x="3492" y="15151"/>
                  </a:cubicBezTo>
                  <a:cubicBezTo>
                    <a:pt x="6146" y="14963"/>
                    <a:pt x="8795" y="14769"/>
                    <a:pt x="11443" y="14560"/>
                  </a:cubicBezTo>
                  <a:cubicBezTo>
                    <a:pt x="11497" y="14598"/>
                    <a:pt x="11555" y="14630"/>
                    <a:pt x="11604" y="14673"/>
                  </a:cubicBezTo>
                  <a:cubicBezTo>
                    <a:pt x="11658" y="14625"/>
                    <a:pt x="11711" y="14576"/>
                    <a:pt x="11781" y="14538"/>
                  </a:cubicBezTo>
                  <a:cubicBezTo>
                    <a:pt x="16305" y="14179"/>
                    <a:pt x="20823" y="13782"/>
                    <a:pt x="25336" y="13276"/>
                  </a:cubicBezTo>
                  <a:cubicBezTo>
                    <a:pt x="25427" y="13314"/>
                    <a:pt x="25519" y="13351"/>
                    <a:pt x="25588" y="13405"/>
                  </a:cubicBezTo>
                  <a:cubicBezTo>
                    <a:pt x="25648" y="13335"/>
                    <a:pt x="25706" y="13281"/>
                    <a:pt x="25776" y="13228"/>
                  </a:cubicBezTo>
                  <a:cubicBezTo>
                    <a:pt x="27076" y="13083"/>
                    <a:pt x="28376" y="12927"/>
                    <a:pt x="29677" y="12760"/>
                  </a:cubicBezTo>
                  <a:cubicBezTo>
                    <a:pt x="30074" y="12713"/>
                    <a:pt x="30359" y="12589"/>
                    <a:pt x="30590" y="12423"/>
                  </a:cubicBezTo>
                  <a:cubicBezTo>
                    <a:pt x="30751" y="12401"/>
                    <a:pt x="30907" y="12379"/>
                    <a:pt x="31068" y="12358"/>
                  </a:cubicBezTo>
                  <a:cubicBezTo>
                    <a:pt x="31014" y="12277"/>
                    <a:pt x="30971" y="12180"/>
                    <a:pt x="30934" y="12078"/>
                  </a:cubicBezTo>
                  <a:cubicBezTo>
                    <a:pt x="31100" y="11868"/>
                    <a:pt x="31234" y="11617"/>
                    <a:pt x="31373" y="11352"/>
                  </a:cubicBezTo>
                  <a:cubicBezTo>
                    <a:pt x="31599" y="11218"/>
                    <a:pt x="31777" y="11004"/>
                    <a:pt x="31986" y="10843"/>
                  </a:cubicBezTo>
                  <a:cubicBezTo>
                    <a:pt x="31991" y="10843"/>
                    <a:pt x="31991" y="10837"/>
                    <a:pt x="31997" y="10837"/>
                  </a:cubicBezTo>
                  <a:cubicBezTo>
                    <a:pt x="32013" y="10826"/>
                    <a:pt x="32023" y="10816"/>
                    <a:pt x="32040" y="10811"/>
                  </a:cubicBezTo>
                  <a:cubicBezTo>
                    <a:pt x="32072" y="10789"/>
                    <a:pt x="32099" y="10767"/>
                    <a:pt x="32137" y="10752"/>
                  </a:cubicBezTo>
                  <a:cubicBezTo>
                    <a:pt x="32164" y="10735"/>
                    <a:pt x="32196" y="10725"/>
                    <a:pt x="32223" y="10708"/>
                  </a:cubicBezTo>
                  <a:cubicBezTo>
                    <a:pt x="32244" y="10703"/>
                    <a:pt x="32266" y="10692"/>
                    <a:pt x="32288" y="10687"/>
                  </a:cubicBezTo>
                  <a:cubicBezTo>
                    <a:pt x="32340" y="10670"/>
                    <a:pt x="32395" y="10660"/>
                    <a:pt x="32454" y="10655"/>
                  </a:cubicBezTo>
                  <a:cubicBezTo>
                    <a:pt x="32464" y="10569"/>
                    <a:pt x="32475" y="10482"/>
                    <a:pt x="32486" y="10392"/>
                  </a:cubicBezTo>
                  <a:cubicBezTo>
                    <a:pt x="32432" y="10102"/>
                    <a:pt x="32164" y="9780"/>
                    <a:pt x="32588" y="9542"/>
                  </a:cubicBezTo>
                  <a:cubicBezTo>
                    <a:pt x="32620" y="8677"/>
                    <a:pt x="33367" y="8565"/>
                    <a:pt x="33947" y="8317"/>
                  </a:cubicBezTo>
                  <a:cubicBezTo>
                    <a:pt x="34549" y="8060"/>
                    <a:pt x="35189" y="7878"/>
                    <a:pt x="35806" y="7668"/>
                  </a:cubicBezTo>
                  <a:cubicBezTo>
                    <a:pt x="35891" y="7581"/>
                    <a:pt x="35972" y="7501"/>
                    <a:pt x="36059" y="7415"/>
                  </a:cubicBezTo>
                  <a:lnTo>
                    <a:pt x="36052" y="7415"/>
                  </a:lnTo>
                  <a:cubicBezTo>
                    <a:pt x="36157" y="7249"/>
                    <a:pt x="36273" y="7105"/>
                    <a:pt x="36459" y="7105"/>
                  </a:cubicBezTo>
                  <a:cubicBezTo>
                    <a:pt x="36502" y="7105"/>
                    <a:pt x="36549" y="7113"/>
                    <a:pt x="36600" y="7130"/>
                  </a:cubicBezTo>
                  <a:cubicBezTo>
                    <a:pt x="36786" y="6727"/>
                    <a:pt x="37106" y="6592"/>
                    <a:pt x="37496" y="6592"/>
                  </a:cubicBezTo>
                  <a:cubicBezTo>
                    <a:pt x="37548" y="6592"/>
                    <a:pt x="37600" y="6594"/>
                    <a:pt x="37654" y="6599"/>
                  </a:cubicBezTo>
                  <a:cubicBezTo>
                    <a:pt x="37584" y="6120"/>
                    <a:pt x="37928" y="5857"/>
                    <a:pt x="38191" y="5551"/>
                  </a:cubicBezTo>
                  <a:cubicBezTo>
                    <a:pt x="38255" y="5321"/>
                    <a:pt x="38400" y="5246"/>
                    <a:pt x="38582" y="5246"/>
                  </a:cubicBezTo>
                  <a:cubicBezTo>
                    <a:pt x="38631" y="5246"/>
                    <a:pt x="38682" y="5252"/>
                    <a:pt x="38734" y="5260"/>
                  </a:cubicBezTo>
                  <a:cubicBezTo>
                    <a:pt x="38970" y="4246"/>
                    <a:pt x="40039" y="4665"/>
                    <a:pt x="40597" y="4208"/>
                  </a:cubicBezTo>
                  <a:cubicBezTo>
                    <a:pt x="40683" y="4030"/>
                    <a:pt x="40784" y="3885"/>
                    <a:pt x="40961" y="3885"/>
                  </a:cubicBezTo>
                  <a:cubicBezTo>
                    <a:pt x="41008" y="3885"/>
                    <a:pt x="41061" y="3895"/>
                    <a:pt x="41119" y="3918"/>
                  </a:cubicBezTo>
                  <a:cubicBezTo>
                    <a:pt x="41055" y="3671"/>
                    <a:pt x="41254" y="3693"/>
                    <a:pt x="41403" y="3666"/>
                  </a:cubicBezTo>
                  <a:cubicBezTo>
                    <a:pt x="41720" y="3187"/>
                    <a:pt x="42397" y="3591"/>
                    <a:pt x="42731" y="3150"/>
                  </a:cubicBezTo>
                  <a:cubicBezTo>
                    <a:pt x="42747" y="2929"/>
                    <a:pt x="42741" y="2699"/>
                    <a:pt x="42999" y="2602"/>
                  </a:cubicBezTo>
                  <a:cubicBezTo>
                    <a:pt x="43010" y="2381"/>
                    <a:pt x="43010" y="2156"/>
                    <a:pt x="43273" y="2064"/>
                  </a:cubicBezTo>
                  <a:cubicBezTo>
                    <a:pt x="43349" y="1962"/>
                    <a:pt x="43402" y="1823"/>
                    <a:pt x="43498" y="1791"/>
                  </a:cubicBezTo>
                  <a:cubicBezTo>
                    <a:pt x="44246" y="1521"/>
                    <a:pt x="44187" y="894"/>
                    <a:pt x="44031" y="361"/>
                  </a:cubicBezTo>
                  <a:cubicBezTo>
                    <a:pt x="43993" y="222"/>
                    <a:pt x="43939" y="135"/>
                    <a:pt x="43875" y="83"/>
                  </a:cubicBezTo>
                  <a:cubicBezTo>
                    <a:pt x="43806" y="23"/>
                    <a:pt x="43726" y="1"/>
                    <a:pt x="43640"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TN</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90" name="Google Shape;1188;p29">
              <a:extLst>
                <a:ext uri="{FF2B5EF4-FFF2-40B4-BE49-F238E27FC236}">
                  <a16:creationId xmlns:a16="http://schemas.microsoft.com/office/drawing/2014/main" id="{02380362-DFAC-4ECE-BEE3-B3BCA01E6D7C}"/>
                </a:ext>
              </a:extLst>
            </p:cNvPr>
            <p:cNvSpPr/>
            <p:nvPr/>
          </p:nvSpPr>
          <p:spPr>
            <a:xfrm>
              <a:off x="1957075" y="1520175"/>
              <a:ext cx="952250" cy="780950"/>
            </a:xfrm>
            <a:custGeom>
              <a:avLst/>
              <a:gdLst/>
              <a:ahLst/>
              <a:cxnLst/>
              <a:rect l="l" t="t" r="r" b="b"/>
              <a:pathLst>
                <a:path w="38090" h="31238" extrusionOk="0">
                  <a:moveTo>
                    <a:pt x="4618" y="1"/>
                  </a:moveTo>
                  <a:cubicBezTo>
                    <a:pt x="4004" y="1"/>
                    <a:pt x="3742" y="329"/>
                    <a:pt x="3675" y="986"/>
                  </a:cubicBezTo>
                  <a:cubicBezTo>
                    <a:pt x="3606" y="1658"/>
                    <a:pt x="3655" y="2357"/>
                    <a:pt x="3283" y="2952"/>
                  </a:cubicBezTo>
                  <a:cubicBezTo>
                    <a:pt x="3256" y="2920"/>
                    <a:pt x="3236" y="2883"/>
                    <a:pt x="3208" y="2845"/>
                  </a:cubicBezTo>
                  <a:cubicBezTo>
                    <a:pt x="3181" y="3017"/>
                    <a:pt x="3159" y="3195"/>
                    <a:pt x="3132" y="3366"/>
                  </a:cubicBezTo>
                  <a:cubicBezTo>
                    <a:pt x="3176" y="3614"/>
                    <a:pt x="3241" y="3860"/>
                    <a:pt x="3208" y="4092"/>
                  </a:cubicBezTo>
                  <a:cubicBezTo>
                    <a:pt x="2526" y="9131"/>
                    <a:pt x="1801" y="14164"/>
                    <a:pt x="1146" y="19209"/>
                  </a:cubicBezTo>
                  <a:cubicBezTo>
                    <a:pt x="1076" y="19773"/>
                    <a:pt x="941" y="20170"/>
                    <a:pt x="657" y="20343"/>
                  </a:cubicBezTo>
                  <a:cubicBezTo>
                    <a:pt x="645" y="20385"/>
                    <a:pt x="640" y="20428"/>
                    <a:pt x="630" y="20466"/>
                  </a:cubicBezTo>
                  <a:cubicBezTo>
                    <a:pt x="839" y="20757"/>
                    <a:pt x="947" y="21062"/>
                    <a:pt x="984" y="21374"/>
                  </a:cubicBezTo>
                  <a:cubicBezTo>
                    <a:pt x="630" y="23013"/>
                    <a:pt x="238" y="24650"/>
                    <a:pt x="17" y="26316"/>
                  </a:cubicBezTo>
                  <a:cubicBezTo>
                    <a:pt x="12" y="26326"/>
                    <a:pt x="12" y="26343"/>
                    <a:pt x="6" y="26354"/>
                  </a:cubicBezTo>
                  <a:cubicBezTo>
                    <a:pt x="1" y="26601"/>
                    <a:pt x="77" y="26832"/>
                    <a:pt x="382" y="26978"/>
                  </a:cubicBezTo>
                  <a:cubicBezTo>
                    <a:pt x="640" y="27100"/>
                    <a:pt x="908" y="27181"/>
                    <a:pt x="1188" y="27224"/>
                  </a:cubicBezTo>
                  <a:cubicBezTo>
                    <a:pt x="1661" y="27293"/>
                    <a:pt x="2150" y="27300"/>
                    <a:pt x="2623" y="27385"/>
                  </a:cubicBezTo>
                  <a:cubicBezTo>
                    <a:pt x="2849" y="27429"/>
                    <a:pt x="3074" y="27477"/>
                    <a:pt x="3300" y="27526"/>
                  </a:cubicBezTo>
                  <a:cubicBezTo>
                    <a:pt x="5266" y="27836"/>
                    <a:pt x="7232" y="28153"/>
                    <a:pt x="9204" y="28454"/>
                  </a:cubicBezTo>
                  <a:cubicBezTo>
                    <a:pt x="9328" y="28476"/>
                    <a:pt x="9457" y="28493"/>
                    <a:pt x="9585" y="28508"/>
                  </a:cubicBezTo>
                  <a:cubicBezTo>
                    <a:pt x="9665" y="28572"/>
                    <a:pt x="9747" y="28642"/>
                    <a:pt x="9811" y="28728"/>
                  </a:cubicBezTo>
                  <a:cubicBezTo>
                    <a:pt x="9864" y="28674"/>
                    <a:pt x="9928" y="28621"/>
                    <a:pt x="9993" y="28578"/>
                  </a:cubicBezTo>
                  <a:cubicBezTo>
                    <a:pt x="10005" y="28572"/>
                    <a:pt x="10010" y="28567"/>
                    <a:pt x="10020" y="28562"/>
                  </a:cubicBezTo>
                  <a:cubicBezTo>
                    <a:pt x="10514" y="28621"/>
                    <a:pt x="11014" y="28669"/>
                    <a:pt x="11508" y="28723"/>
                  </a:cubicBezTo>
                  <a:cubicBezTo>
                    <a:pt x="11525" y="28723"/>
                    <a:pt x="11542" y="28723"/>
                    <a:pt x="11559" y="28723"/>
                  </a:cubicBezTo>
                  <a:cubicBezTo>
                    <a:pt x="12030" y="28723"/>
                    <a:pt x="12492" y="28791"/>
                    <a:pt x="12953" y="28868"/>
                  </a:cubicBezTo>
                  <a:cubicBezTo>
                    <a:pt x="15505" y="29158"/>
                    <a:pt x="18063" y="29448"/>
                    <a:pt x="20614" y="29738"/>
                  </a:cubicBezTo>
                  <a:lnTo>
                    <a:pt x="20957" y="29792"/>
                  </a:lnTo>
                  <a:cubicBezTo>
                    <a:pt x="22350" y="30023"/>
                    <a:pt x="23784" y="30259"/>
                    <a:pt x="25202" y="30367"/>
                  </a:cubicBezTo>
                  <a:cubicBezTo>
                    <a:pt x="25390" y="30383"/>
                    <a:pt x="25578" y="30388"/>
                    <a:pt x="25767" y="30399"/>
                  </a:cubicBezTo>
                  <a:lnTo>
                    <a:pt x="25767" y="30405"/>
                  </a:lnTo>
                  <a:cubicBezTo>
                    <a:pt x="26255" y="30459"/>
                    <a:pt x="26749" y="30512"/>
                    <a:pt x="27238" y="30571"/>
                  </a:cubicBezTo>
                  <a:cubicBezTo>
                    <a:pt x="27227" y="30549"/>
                    <a:pt x="27211" y="30534"/>
                    <a:pt x="27200" y="30512"/>
                  </a:cubicBezTo>
                  <a:lnTo>
                    <a:pt x="27200" y="30512"/>
                  </a:lnTo>
                  <a:cubicBezTo>
                    <a:pt x="28758" y="30668"/>
                    <a:pt x="30322" y="30791"/>
                    <a:pt x="31874" y="30985"/>
                  </a:cubicBezTo>
                  <a:cubicBezTo>
                    <a:pt x="32900" y="31065"/>
                    <a:pt x="33927" y="31151"/>
                    <a:pt x="34953" y="31232"/>
                  </a:cubicBezTo>
                  <a:cubicBezTo>
                    <a:pt x="35017" y="31216"/>
                    <a:pt x="35075" y="31188"/>
                    <a:pt x="35130" y="31161"/>
                  </a:cubicBezTo>
                  <a:cubicBezTo>
                    <a:pt x="35372" y="31188"/>
                    <a:pt x="35608" y="31210"/>
                    <a:pt x="35849" y="31237"/>
                  </a:cubicBezTo>
                  <a:cubicBezTo>
                    <a:pt x="35898" y="31168"/>
                    <a:pt x="35941" y="31097"/>
                    <a:pt x="35978" y="31017"/>
                  </a:cubicBezTo>
                  <a:cubicBezTo>
                    <a:pt x="35968" y="30904"/>
                    <a:pt x="35963" y="30775"/>
                    <a:pt x="35978" y="30613"/>
                  </a:cubicBezTo>
                  <a:cubicBezTo>
                    <a:pt x="36333" y="26720"/>
                    <a:pt x="36667" y="22819"/>
                    <a:pt x="36919" y="18919"/>
                  </a:cubicBezTo>
                  <a:cubicBezTo>
                    <a:pt x="36951" y="18462"/>
                    <a:pt x="37048" y="18204"/>
                    <a:pt x="37230" y="18064"/>
                  </a:cubicBezTo>
                  <a:cubicBezTo>
                    <a:pt x="37242" y="17908"/>
                    <a:pt x="37252" y="17747"/>
                    <a:pt x="37262" y="17591"/>
                  </a:cubicBezTo>
                  <a:cubicBezTo>
                    <a:pt x="37267" y="17559"/>
                    <a:pt x="37267" y="17522"/>
                    <a:pt x="37274" y="17484"/>
                  </a:cubicBezTo>
                  <a:cubicBezTo>
                    <a:pt x="37069" y="17323"/>
                    <a:pt x="37037" y="17023"/>
                    <a:pt x="37080" y="16522"/>
                  </a:cubicBezTo>
                  <a:cubicBezTo>
                    <a:pt x="37450" y="12627"/>
                    <a:pt x="37719" y="8722"/>
                    <a:pt x="38047" y="4822"/>
                  </a:cubicBezTo>
                  <a:cubicBezTo>
                    <a:pt x="38058" y="4666"/>
                    <a:pt x="38073" y="4511"/>
                    <a:pt x="38090" y="4355"/>
                  </a:cubicBezTo>
                  <a:cubicBezTo>
                    <a:pt x="37983" y="4113"/>
                    <a:pt x="37815" y="3946"/>
                    <a:pt x="37601" y="3834"/>
                  </a:cubicBezTo>
                  <a:cubicBezTo>
                    <a:pt x="37569" y="3817"/>
                    <a:pt x="37542" y="3807"/>
                    <a:pt x="37510" y="3790"/>
                  </a:cubicBezTo>
                  <a:cubicBezTo>
                    <a:pt x="37424" y="3823"/>
                    <a:pt x="37321" y="3836"/>
                    <a:pt x="37201" y="3836"/>
                  </a:cubicBezTo>
                  <a:cubicBezTo>
                    <a:pt x="37101" y="3836"/>
                    <a:pt x="36989" y="3827"/>
                    <a:pt x="36865" y="3812"/>
                  </a:cubicBezTo>
                  <a:cubicBezTo>
                    <a:pt x="34356" y="3490"/>
                    <a:pt x="31837" y="3242"/>
                    <a:pt x="29328" y="2947"/>
                  </a:cubicBezTo>
                  <a:cubicBezTo>
                    <a:pt x="25186" y="2464"/>
                    <a:pt x="21049" y="1958"/>
                    <a:pt x="16913" y="1464"/>
                  </a:cubicBezTo>
                  <a:cubicBezTo>
                    <a:pt x="12905" y="986"/>
                    <a:pt x="8897" y="525"/>
                    <a:pt x="4890" y="19"/>
                  </a:cubicBezTo>
                  <a:cubicBezTo>
                    <a:pt x="4792" y="7"/>
                    <a:pt x="4702" y="1"/>
                    <a:pt x="4618"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WY</a:t>
              </a:r>
              <a:endParaRPr kumimoji="0"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191" name="Google Shape;1189;p29">
              <a:extLst>
                <a:ext uri="{FF2B5EF4-FFF2-40B4-BE49-F238E27FC236}">
                  <a16:creationId xmlns:a16="http://schemas.microsoft.com/office/drawing/2014/main" id="{765904D5-D1C7-E811-7D16-9BF8B7262FB1}"/>
                </a:ext>
              </a:extLst>
            </p:cNvPr>
            <p:cNvSpPr/>
            <p:nvPr/>
          </p:nvSpPr>
          <p:spPr>
            <a:xfrm>
              <a:off x="1949300" y="2186000"/>
              <a:ext cx="30375" cy="20850"/>
            </a:xfrm>
            <a:custGeom>
              <a:avLst/>
              <a:gdLst/>
              <a:ahLst/>
              <a:cxnLst/>
              <a:rect l="l" t="t" r="r" b="b"/>
              <a:pathLst>
                <a:path w="1215" h="834" extrusionOk="0">
                  <a:moveTo>
                    <a:pt x="70" y="0"/>
                  </a:moveTo>
                  <a:cubicBezTo>
                    <a:pt x="43" y="22"/>
                    <a:pt x="22" y="43"/>
                    <a:pt x="1" y="70"/>
                  </a:cubicBezTo>
                  <a:cubicBezTo>
                    <a:pt x="33" y="129"/>
                    <a:pt x="70" y="183"/>
                    <a:pt x="108" y="236"/>
                  </a:cubicBezTo>
                  <a:cubicBezTo>
                    <a:pt x="118" y="253"/>
                    <a:pt x="130" y="268"/>
                    <a:pt x="145" y="280"/>
                  </a:cubicBezTo>
                  <a:cubicBezTo>
                    <a:pt x="172" y="317"/>
                    <a:pt x="199" y="350"/>
                    <a:pt x="227" y="382"/>
                  </a:cubicBezTo>
                  <a:cubicBezTo>
                    <a:pt x="242" y="392"/>
                    <a:pt x="252" y="409"/>
                    <a:pt x="269" y="425"/>
                  </a:cubicBezTo>
                  <a:cubicBezTo>
                    <a:pt x="301" y="452"/>
                    <a:pt x="334" y="479"/>
                    <a:pt x="366" y="506"/>
                  </a:cubicBezTo>
                  <a:cubicBezTo>
                    <a:pt x="376" y="516"/>
                    <a:pt x="388" y="526"/>
                    <a:pt x="398" y="532"/>
                  </a:cubicBezTo>
                  <a:cubicBezTo>
                    <a:pt x="446" y="570"/>
                    <a:pt x="490" y="596"/>
                    <a:pt x="537" y="623"/>
                  </a:cubicBezTo>
                  <a:cubicBezTo>
                    <a:pt x="542" y="628"/>
                    <a:pt x="549" y="628"/>
                    <a:pt x="549" y="635"/>
                  </a:cubicBezTo>
                  <a:cubicBezTo>
                    <a:pt x="591" y="655"/>
                    <a:pt x="639" y="677"/>
                    <a:pt x="683" y="699"/>
                  </a:cubicBezTo>
                  <a:cubicBezTo>
                    <a:pt x="698" y="704"/>
                    <a:pt x="715" y="709"/>
                    <a:pt x="725" y="715"/>
                  </a:cubicBezTo>
                  <a:cubicBezTo>
                    <a:pt x="763" y="731"/>
                    <a:pt x="807" y="742"/>
                    <a:pt x="844" y="752"/>
                  </a:cubicBezTo>
                  <a:cubicBezTo>
                    <a:pt x="854" y="757"/>
                    <a:pt x="871" y="764"/>
                    <a:pt x="881" y="769"/>
                  </a:cubicBezTo>
                  <a:cubicBezTo>
                    <a:pt x="929" y="779"/>
                    <a:pt x="978" y="789"/>
                    <a:pt x="1026" y="801"/>
                  </a:cubicBezTo>
                  <a:cubicBezTo>
                    <a:pt x="1032" y="801"/>
                    <a:pt x="1037" y="806"/>
                    <a:pt x="1043" y="806"/>
                  </a:cubicBezTo>
                  <a:cubicBezTo>
                    <a:pt x="1102" y="816"/>
                    <a:pt x="1155" y="828"/>
                    <a:pt x="1214" y="833"/>
                  </a:cubicBezTo>
                  <a:cubicBezTo>
                    <a:pt x="887" y="757"/>
                    <a:pt x="468" y="650"/>
                    <a:pt x="247" y="365"/>
                  </a:cubicBezTo>
                  <a:cubicBezTo>
                    <a:pt x="150" y="241"/>
                    <a:pt x="98" y="119"/>
                    <a:pt x="70"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92" name="Google Shape;1190;p29">
              <a:extLst>
                <a:ext uri="{FF2B5EF4-FFF2-40B4-BE49-F238E27FC236}">
                  <a16:creationId xmlns:a16="http://schemas.microsoft.com/office/drawing/2014/main" id="{E500416A-B68D-F1CF-2BBD-AEC21D827B8F}"/>
                </a:ext>
              </a:extLst>
            </p:cNvPr>
            <p:cNvSpPr/>
            <p:nvPr/>
          </p:nvSpPr>
          <p:spPr>
            <a:xfrm>
              <a:off x="4961225" y="2145825"/>
              <a:ext cx="403350" cy="702700"/>
            </a:xfrm>
            <a:custGeom>
              <a:avLst/>
              <a:gdLst/>
              <a:ahLst/>
              <a:cxnLst/>
              <a:rect l="l" t="t" r="r" b="b"/>
              <a:pathLst>
                <a:path w="16134" h="28108" extrusionOk="0">
                  <a:moveTo>
                    <a:pt x="14108" y="1"/>
                  </a:moveTo>
                  <a:cubicBezTo>
                    <a:pt x="14076" y="1"/>
                    <a:pt x="7344" y="1"/>
                    <a:pt x="4384" y="866"/>
                  </a:cubicBezTo>
                  <a:cubicBezTo>
                    <a:pt x="4266" y="834"/>
                    <a:pt x="4163" y="764"/>
                    <a:pt x="4088" y="662"/>
                  </a:cubicBezTo>
                  <a:cubicBezTo>
                    <a:pt x="4041" y="591"/>
                    <a:pt x="4009" y="511"/>
                    <a:pt x="3992" y="425"/>
                  </a:cubicBezTo>
                  <a:cubicBezTo>
                    <a:pt x="3315" y="640"/>
                    <a:pt x="2643" y="920"/>
                    <a:pt x="1988" y="1285"/>
                  </a:cubicBezTo>
                  <a:cubicBezTo>
                    <a:pt x="1859" y="1355"/>
                    <a:pt x="1708" y="1404"/>
                    <a:pt x="1612" y="1404"/>
                  </a:cubicBezTo>
                  <a:lnTo>
                    <a:pt x="1579" y="1404"/>
                  </a:lnTo>
                  <a:cubicBezTo>
                    <a:pt x="1430" y="1377"/>
                    <a:pt x="1295" y="1360"/>
                    <a:pt x="1166" y="1360"/>
                  </a:cubicBezTo>
                  <a:cubicBezTo>
                    <a:pt x="897" y="1360"/>
                    <a:pt x="672" y="1424"/>
                    <a:pt x="495" y="1548"/>
                  </a:cubicBezTo>
                  <a:cubicBezTo>
                    <a:pt x="553" y="1741"/>
                    <a:pt x="607" y="1940"/>
                    <a:pt x="661" y="2145"/>
                  </a:cubicBezTo>
                  <a:cubicBezTo>
                    <a:pt x="560" y="2349"/>
                    <a:pt x="585" y="2661"/>
                    <a:pt x="612" y="3004"/>
                  </a:cubicBezTo>
                  <a:cubicBezTo>
                    <a:pt x="919" y="6856"/>
                    <a:pt x="1101" y="10724"/>
                    <a:pt x="1527" y="14560"/>
                  </a:cubicBezTo>
                  <a:cubicBezTo>
                    <a:pt x="1730" y="16413"/>
                    <a:pt x="1574" y="18255"/>
                    <a:pt x="1730" y="20092"/>
                  </a:cubicBezTo>
                  <a:cubicBezTo>
                    <a:pt x="2107" y="20769"/>
                    <a:pt x="2461" y="21446"/>
                    <a:pt x="2154" y="22199"/>
                  </a:cubicBezTo>
                  <a:lnTo>
                    <a:pt x="2154" y="22226"/>
                  </a:lnTo>
                  <a:cubicBezTo>
                    <a:pt x="2042" y="23005"/>
                    <a:pt x="1585" y="23928"/>
                    <a:pt x="1145" y="24573"/>
                  </a:cubicBezTo>
                  <a:cubicBezTo>
                    <a:pt x="823" y="25041"/>
                    <a:pt x="527" y="25217"/>
                    <a:pt x="231" y="25701"/>
                  </a:cubicBezTo>
                  <a:cubicBezTo>
                    <a:pt x="248" y="26335"/>
                    <a:pt x="0" y="27260"/>
                    <a:pt x="178" y="27877"/>
                  </a:cubicBezTo>
                  <a:cubicBezTo>
                    <a:pt x="181" y="27891"/>
                    <a:pt x="203" y="27897"/>
                    <a:pt x="240" y="27897"/>
                  </a:cubicBezTo>
                  <a:cubicBezTo>
                    <a:pt x="497" y="27897"/>
                    <a:pt x="1502" y="27617"/>
                    <a:pt x="2542" y="27617"/>
                  </a:cubicBezTo>
                  <a:cubicBezTo>
                    <a:pt x="3205" y="27617"/>
                    <a:pt x="3882" y="27730"/>
                    <a:pt x="4389" y="28103"/>
                  </a:cubicBezTo>
                  <a:cubicBezTo>
                    <a:pt x="4424" y="28106"/>
                    <a:pt x="4457" y="28108"/>
                    <a:pt x="4489" y="28108"/>
                  </a:cubicBezTo>
                  <a:cubicBezTo>
                    <a:pt x="5113" y="28108"/>
                    <a:pt x="4955" y="27469"/>
                    <a:pt x="5190" y="27141"/>
                  </a:cubicBezTo>
                  <a:cubicBezTo>
                    <a:pt x="5424" y="26817"/>
                    <a:pt x="5682" y="26513"/>
                    <a:pt x="5944" y="26513"/>
                  </a:cubicBezTo>
                  <a:cubicBezTo>
                    <a:pt x="6139" y="26513"/>
                    <a:pt x="6336" y="26680"/>
                    <a:pt x="6528" y="27131"/>
                  </a:cubicBezTo>
                  <a:cubicBezTo>
                    <a:pt x="6765" y="27257"/>
                    <a:pt x="6959" y="27310"/>
                    <a:pt x="7120" y="27310"/>
                  </a:cubicBezTo>
                  <a:cubicBezTo>
                    <a:pt x="7703" y="27310"/>
                    <a:pt x="7865" y="26617"/>
                    <a:pt x="8096" y="26142"/>
                  </a:cubicBezTo>
                  <a:cubicBezTo>
                    <a:pt x="8281" y="25767"/>
                    <a:pt x="8426" y="25516"/>
                    <a:pt x="8645" y="25516"/>
                  </a:cubicBezTo>
                  <a:cubicBezTo>
                    <a:pt x="8788" y="25516"/>
                    <a:pt x="8964" y="25625"/>
                    <a:pt x="9203" y="25879"/>
                  </a:cubicBezTo>
                  <a:cubicBezTo>
                    <a:pt x="9486" y="26177"/>
                    <a:pt x="9776" y="26306"/>
                    <a:pt x="10040" y="26306"/>
                  </a:cubicBezTo>
                  <a:cubicBezTo>
                    <a:pt x="10453" y="26306"/>
                    <a:pt x="10804" y="25992"/>
                    <a:pt x="10971" y="25514"/>
                  </a:cubicBezTo>
                  <a:cubicBezTo>
                    <a:pt x="11383" y="24326"/>
                    <a:pt x="12303" y="23568"/>
                    <a:pt x="12980" y="22607"/>
                  </a:cubicBezTo>
                  <a:cubicBezTo>
                    <a:pt x="13178" y="22323"/>
                    <a:pt x="13501" y="22113"/>
                    <a:pt x="13474" y="21710"/>
                  </a:cubicBezTo>
                  <a:cubicBezTo>
                    <a:pt x="13463" y="21592"/>
                    <a:pt x="13468" y="21490"/>
                    <a:pt x="13479" y="21404"/>
                  </a:cubicBezTo>
                  <a:cubicBezTo>
                    <a:pt x="13506" y="21232"/>
                    <a:pt x="13565" y="21119"/>
                    <a:pt x="13657" y="21044"/>
                  </a:cubicBezTo>
                  <a:cubicBezTo>
                    <a:pt x="13667" y="21034"/>
                    <a:pt x="13684" y="21027"/>
                    <a:pt x="13699" y="21017"/>
                  </a:cubicBezTo>
                  <a:cubicBezTo>
                    <a:pt x="13704" y="21012"/>
                    <a:pt x="13716" y="21006"/>
                    <a:pt x="13726" y="21001"/>
                  </a:cubicBezTo>
                  <a:cubicBezTo>
                    <a:pt x="13823" y="20950"/>
                    <a:pt x="13942" y="20933"/>
                    <a:pt x="14072" y="20933"/>
                  </a:cubicBezTo>
                  <a:cubicBezTo>
                    <a:pt x="14244" y="20933"/>
                    <a:pt x="14435" y="20963"/>
                    <a:pt x="14618" y="20985"/>
                  </a:cubicBezTo>
                  <a:cubicBezTo>
                    <a:pt x="14863" y="20777"/>
                    <a:pt x="15104" y="20563"/>
                    <a:pt x="15350" y="20354"/>
                  </a:cubicBezTo>
                  <a:lnTo>
                    <a:pt x="15350" y="20354"/>
                  </a:lnTo>
                  <a:cubicBezTo>
                    <a:pt x="15346" y="20363"/>
                    <a:pt x="15342" y="20373"/>
                    <a:pt x="15338" y="20382"/>
                  </a:cubicBezTo>
                  <a:cubicBezTo>
                    <a:pt x="15338" y="20382"/>
                    <a:pt x="15343" y="20377"/>
                    <a:pt x="15348" y="20367"/>
                  </a:cubicBezTo>
                  <a:lnTo>
                    <a:pt x="15355" y="20350"/>
                  </a:lnTo>
                  <a:lnTo>
                    <a:pt x="15355" y="20350"/>
                  </a:lnTo>
                  <a:cubicBezTo>
                    <a:pt x="15353" y="20351"/>
                    <a:pt x="15352" y="20353"/>
                    <a:pt x="15350" y="20354"/>
                  </a:cubicBezTo>
                  <a:lnTo>
                    <a:pt x="15350" y="20354"/>
                  </a:lnTo>
                  <a:cubicBezTo>
                    <a:pt x="15461" y="20113"/>
                    <a:pt x="15638" y="20063"/>
                    <a:pt x="15835" y="20063"/>
                  </a:cubicBezTo>
                  <a:cubicBezTo>
                    <a:pt x="15932" y="20063"/>
                    <a:pt x="16033" y="20075"/>
                    <a:pt x="16133" y="20082"/>
                  </a:cubicBezTo>
                  <a:cubicBezTo>
                    <a:pt x="16052" y="19427"/>
                    <a:pt x="15967" y="18771"/>
                    <a:pt x="15886" y="18116"/>
                  </a:cubicBezTo>
                  <a:cubicBezTo>
                    <a:pt x="15886" y="18111"/>
                    <a:pt x="15886" y="18111"/>
                    <a:pt x="15891" y="18111"/>
                  </a:cubicBezTo>
                  <a:cubicBezTo>
                    <a:pt x="15923" y="18046"/>
                    <a:pt x="15896" y="17842"/>
                    <a:pt x="15843" y="17788"/>
                  </a:cubicBezTo>
                  <a:cubicBezTo>
                    <a:pt x="15821" y="17622"/>
                    <a:pt x="15806" y="17456"/>
                    <a:pt x="15784" y="17283"/>
                  </a:cubicBezTo>
                  <a:cubicBezTo>
                    <a:pt x="15392" y="16053"/>
                    <a:pt x="15193" y="14860"/>
                    <a:pt x="15214" y="13534"/>
                  </a:cubicBezTo>
                  <a:cubicBezTo>
                    <a:pt x="15219" y="13008"/>
                    <a:pt x="15231" y="12480"/>
                    <a:pt x="15231" y="11954"/>
                  </a:cubicBezTo>
                  <a:cubicBezTo>
                    <a:pt x="15010" y="10003"/>
                    <a:pt x="14790" y="8059"/>
                    <a:pt x="14569" y="6115"/>
                  </a:cubicBezTo>
                  <a:cubicBezTo>
                    <a:pt x="14634" y="6103"/>
                    <a:pt x="14704" y="6098"/>
                    <a:pt x="14768" y="6088"/>
                  </a:cubicBezTo>
                  <a:cubicBezTo>
                    <a:pt x="14720" y="5523"/>
                    <a:pt x="14678" y="4954"/>
                    <a:pt x="14634" y="4385"/>
                  </a:cubicBezTo>
                  <a:cubicBezTo>
                    <a:pt x="14581" y="3611"/>
                    <a:pt x="14457" y="2842"/>
                    <a:pt x="14349" y="2074"/>
                  </a:cubicBezTo>
                  <a:cubicBezTo>
                    <a:pt x="14323" y="2096"/>
                    <a:pt x="14301" y="2123"/>
                    <a:pt x="14274" y="2155"/>
                  </a:cubicBezTo>
                  <a:cubicBezTo>
                    <a:pt x="13994" y="1484"/>
                    <a:pt x="14043" y="839"/>
                    <a:pt x="14016" y="205"/>
                  </a:cubicBezTo>
                  <a:cubicBezTo>
                    <a:pt x="14043" y="130"/>
                    <a:pt x="14070" y="60"/>
                    <a:pt x="14108"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IN</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93" name="Google Shape;1191;p29">
              <a:extLst>
                <a:ext uri="{FF2B5EF4-FFF2-40B4-BE49-F238E27FC236}">
                  <a16:creationId xmlns:a16="http://schemas.microsoft.com/office/drawing/2014/main" id="{C1B9B21B-E44B-18E9-9952-6FCA53CD4608}"/>
                </a:ext>
              </a:extLst>
            </p:cNvPr>
            <p:cNvSpPr/>
            <p:nvPr/>
          </p:nvSpPr>
          <p:spPr>
            <a:xfrm>
              <a:off x="3919700" y="2407475"/>
              <a:ext cx="907900" cy="787175"/>
            </a:xfrm>
            <a:custGeom>
              <a:avLst/>
              <a:gdLst/>
              <a:ahLst/>
              <a:cxnLst/>
              <a:rect l="l" t="t" r="r" b="b"/>
              <a:pathLst>
                <a:path w="36316" h="31487" extrusionOk="0">
                  <a:moveTo>
                    <a:pt x="19715" y="1"/>
                  </a:moveTo>
                  <a:cubicBezTo>
                    <a:pt x="19612" y="1"/>
                    <a:pt x="19506" y="4"/>
                    <a:pt x="19399" y="11"/>
                  </a:cubicBezTo>
                  <a:cubicBezTo>
                    <a:pt x="18980" y="38"/>
                    <a:pt x="18561" y="48"/>
                    <a:pt x="18142" y="53"/>
                  </a:cubicBezTo>
                  <a:cubicBezTo>
                    <a:pt x="17723" y="60"/>
                    <a:pt x="17304" y="60"/>
                    <a:pt x="16885" y="70"/>
                  </a:cubicBezTo>
                  <a:cubicBezTo>
                    <a:pt x="13710" y="414"/>
                    <a:pt x="10519" y="397"/>
                    <a:pt x="7333" y="548"/>
                  </a:cubicBezTo>
                  <a:cubicBezTo>
                    <a:pt x="5292" y="645"/>
                    <a:pt x="3251" y="720"/>
                    <a:pt x="1208" y="806"/>
                  </a:cubicBezTo>
                  <a:cubicBezTo>
                    <a:pt x="1199" y="806"/>
                    <a:pt x="1189" y="807"/>
                    <a:pt x="1179" y="807"/>
                  </a:cubicBezTo>
                  <a:cubicBezTo>
                    <a:pt x="1024" y="807"/>
                    <a:pt x="832" y="768"/>
                    <a:pt x="668" y="768"/>
                  </a:cubicBezTo>
                  <a:cubicBezTo>
                    <a:pt x="515" y="768"/>
                    <a:pt x="386" y="802"/>
                    <a:pt x="333" y="930"/>
                  </a:cubicBezTo>
                  <a:lnTo>
                    <a:pt x="60" y="1064"/>
                  </a:lnTo>
                  <a:cubicBezTo>
                    <a:pt x="38" y="1069"/>
                    <a:pt x="21" y="1069"/>
                    <a:pt x="0" y="1074"/>
                  </a:cubicBezTo>
                  <a:cubicBezTo>
                    <a:pt x="43" y="1139"/>
                    <a:pt x="97" y="1198"/>
                    <a:pt x="167" y="1246"/>
                  </a:cubicBezTo>
                  <a:cubicBezTo>
                    <a:pt x="204" y="1327"/>
                    <a:pt x="241" y="1402"/>
                    <a:pt x="279" y="1478"/>
                  </a:cubicBezTo>
                  <a:cubicBezTo>
                    <a:pt x="323" y="1553"/>
                    <a:pt x="360" y="1627"/>
                    <a:pt x="403" y="1697"/>
                  </a:cubicBezTo>
                  <a:cubicBezTo>
                    <a:pt x="913" y="2847"/>
                    <a:pt x="913" y="4174"/>
                    <a:pt x="2235" y="5029"/>
                  </a:cubicBezTo>
                  <a:cubicBezTo>
                    <a:pt x="2369" y="5076"/>
                    <a:pt x="2482" y="5136"/>
                    <a:pt x="2579" y="5210"/>
                  </a:cubicBezTo>
                  <a:cubicBezTo>
                    <a:pt x="2676" y="5292"/>
                    <a:pt x="2761" y="5378"/>
                    <a:pt x="2832" y="5480"/>
                  </a:cubicBezTo>
                  <a:cubicBezTo>
                    <a:pt x="3196" y="6157"/>
                    <a:pt x="3385" y="7161"/>
                    <a:pt x="3750" y="8111"/>
                  </a:cubicBezTo>
                  <a:cubicBezTo>
                    <a:pt x="3792" y="8230"/>
                    <a:pt x="3841" y="8349"/>
                    <a:pt x="3895" y="8466"/>
                  </a:cubicBezTo>
                  <a:cubicBezTo>
                    <a:pt x="4233" y="9487"/>
                    <a:pt x="5560" y="10154"/>
                    <a:pt x="6023" y="11969"/>
                  </a:cubicBezTo>
                  <a:lnTo>
                    <a:pt x="6023" y="12393"/>
                  </a:lnTo>
                  <a:cubicBezTo>
                    <a:pt x="6006" y="16417"/>
                    <a:pt x="5996" y="20441"/>
                    <a:pt x="6033" y="24465"/>
                  </a:cubicBezTo>
                  <a:cubicBezTo>
                    <a:pt x="6033" y="24916"/>
                    <a:pt x="5941" y="25152"/>
                    <a:pt x="5738" y="25266"/>
                  </a:cubicBezTo>
                  <a:lnTo>
                    <a:pt x="5738" y="25733"/>
                  </a:lnTo>
                  <a:cubicBezTo>
                    <a:pt x="5969" y="25851"/>
                    <a:pt x="6048" y="26087"/>
                    <a:pt x="6028" y="26528"/>
                  </a:cubicBezTo>
                  <a:cubicBezTo>
                    <a:pt x="5990" y="27232"/>
                    <a:pt x="5996" y="27935"/>
                    <a:pt x="6033" y="28634"/>
                  </a:cubicBezTo>
                  <a:cubicBezTo>
                    <a:pt x="6055" y="28655"/>
                    <a:pt x="6070" y="28683"/>
                    <a:pt x="6097" y="28703"/>
                  </a:cubicBezTo>
                  <a:cubicBezTo>
                    <a:pt x="6194" y="28805"/>
                    <a:pt x="6313" y="28876"/>
                    <a:pt x="6430" y="28929"/>
                  </a:cubicBezTo>
                  <a:cubicBezTo>
                    <a:pt x="6420" y="28817"/>
                    <a:pt x="6409" y="28703"/>
                    <a:pt x="6403" y="28586"/>
                  </a:cubicBezTo>
                  <a:cubicBezTo>
                    <a:pt x="8064" y="28586"/>
                    <a:pt x="9701" y="28615"/>
                    <a:pt x="11328" y="28615"/>
                  </a:cubicBezTo>
                  <a:cubicBezTo>
                    <a:pt x="12417" y="28615"/>
                    <a:pt x="13502" y="28602"/>
                    <a:pt x="14585" y="28559"/>
                  </a:cubicBezTo>
                  <a:cubicBezTo>
                    <a:pt x="15257" y="28532"/>
                    <a:pt x="15929" y="28528"/>
                    <a:pt x="16601" y="28528"/>
                  </a:cubicBezTo>
                  <a:cubicBezTo>
                    <a:pt x="16981" y="28528"/>
                    <a:pt x="17362" y="28529"/>
                    <a:pt x="17744" y="28529"/>
                  </a:cubicBezTo>
                  <a:cubicBezTo>
                    <a:pt x="18895" y="28529"/>
                    <a:pt x="20048" y="28515"/>
                    <a:pt x="21205" y="28403"/>
                  </a:cubicBezTo>
                  <a:cubicBezTo>
                    <a:pt x="24202" y="28108"/>
                    <a:pt x="27237" y="28160"/>
                    <a:pt x="30256" y="28080"/>
                  </a:cubicBezTo>
                  <a:cubicBezTo>
                    <a:pt x="30444" y="28080"/>
                    <a:pt x="30637" y="28236"/>
                    <a:pt x="30831" y="28333"/>
                  </a:cubicBezTo>
                  <a:cubicBezTo>
                    <a:pt x="30944" y="28762"/>
                    <a:pt x="31212" y="29166"/>
                    <a:pt x="31094" y="29643"/>
                  </a:cubicBezTo>
                  <a:cubicBezTo>
                    <a:pt x="30751" y="29826"/>
                    <a:pt x="30374" y="29982"/>
                    <a:pt x="30294" y="30433"/>
                  </a:cubicBezTo>
                  <a:cubicBezTo>
                    <a:pt x="30244" y="30425"/>
                    <a:pt x="30196" y="30419"/>
                    <a:pt x="30154" y="30419"/>
                  </a:cubicBezTo>
                  <a:cubicBezTo>
                    <a:pt x="30013" y="30419"/>
                    <a:pt x="29935" y="30481"/>
                    <a:pt x="30009" y="30696"/>
                  </a:cubicBezTo>
                  <a:cubicBezTo>
                    <a:pt x="29944" y="30680"/>
                    <a:pt x="29887" y="30672"/>
                    <a:pt x="29837" y="30672"/>
                  </a:cubicBezTo>
                  <a:cubicBezTo>
                    <a:pt x="29669" y="30672"/>
                    <a:pt x="29590" y="30764"/>
                    <a:pt x="29553" y="30900"/>
                  </a:cubicBezTo>
                  <a:cubicBezTo>
                    <a:pt x="29585" y="30981"/>
                    <a:pt x="29638" y="31061"/>
                    <a:pt x="29708" y="31121"/>
                  </a:cubicBezTo>
                  <a:cubicBezTo>
                    <a:pt x="29891" y="31272"/>
                    <a:pt x="30101" y="31395"/>
                    <a:pt x="30320" y="31487"/>
                  </a:cubicBezTo>
                  <a:cubicBezTo>
                    <a:pt x="30965" y="31443"/>
                    <a:pt x="31609" y="31411"/>
                    <a:pt x="32244" y="31299"/>
                  </a:cubicBezTo>
                  <a:cubicBezTo>
                    <a:pt x="32388" y="31272"/>
                    <a:pt x="32520" y="31257"/>
                    <a:pt x="32637" y="31257"/>
                  </a:cubicBezTo>
                  <a:cubicBezTo>
                    <a:pt x="32739" y="31257"/>
                    <a:pt x="32830" y="31268"/>
                    <a:pt x="32910" y="31293"/>
                  </a:cubicBezTo>
                  <a:cubicBezTo>
                    <a:pt x="32953" y="31266"/>
                    <a:pt x="32995" y="31244"/>
                    <a:pt x="33034" y="31217"/>
                  </a:cubicBezTo>
                  <a:cubicBezTo>
                    <a:pt x="33297" y="31051"/>
                    <a:pt x="33528" y="30836"/>
                    <a:pt x="33711" y="30578"/>
                  </a:cubicBezTo>
                  <a:cubicBezTo>
                    <a:pt x="33721" y="30520"/>
                    <a:pt x="33743" y="30455"/>
                    <a:pt x="33754" y="30396"/>
                  </a:cubicBezTo>
                  <a:cubicBezTo>
                    <a:pt x="33866" y="29799"/>
                    <a:pt x="33957" y="29198"/>
                    <a:pt x="34059" y="28596"/>
                  </a:cubicBezTo>
                  <a:cubicBezTo>
                    <a:pt x="34291" y="28494"/>
                    <a:pt x="34307" y="28279"/>
                    <a:pt x="34329" y="28064"/>
                  </a:cubicBezTo>
                  <a:cubicBezTo>
                    <a:pt x="34500" y="27994"/>
                    <a:pt x="34678" y="27935"/>
                    <a:pt x="34855" y="27882"/>
                  </a:cubicBezTo>
                  <a:cubicBezTo>
                    <a:pt x="34860" y="27806"/>
                    <a:pt x="34865" y="27731"/>
                    <a:pt x="34877" y="27667"/>
                  </a:cubicBezTo>
                  <a:cubicBezTo>
                    <a:pt x="34758" y="27543"/>
                    <a:pt x="34656" y="27366"/>
                    <a:pt x="34602" y="27103"/>
                  </a:cubicBezTo>
                  <a:cubicBezTo>
                    <a:pt x="34714" y="27022"/>
                    <a:pt x="34868" y="26974"/>
                    <a:pt x="35082" y="26974"/>
                  </a:cubicBezTo>
                  <a:cubicBezTo>
                    <a:pt x="35095" y="26974"/>
                    <a:pt x="35109" y="26974"/>
                    <a:pt x="35123" y="26974"/>
                  </a:cubicBezTo>
                  <a:lnTo>
                    <a:pt x="35102" y="26995"/>
                  </a:lnTo>
                  <a:cubicBezTo>
                    <a:pt x="36315" y="26442"/>
                    <a:pt x="36129" y="25330"/>
                    <a:pt x="36171" y="24309"/>
                  </a:cubicBezTo>
                  <a:cubicBezTo>
                    <a:pt x="36099" y="24248"/>
                    <a:pt x="36008" y="24228"/>
                    <a:pt x="35908" y="24228"/>
                  </a:cubicBezTo>
                  <a:cubicBezTo>
                    <a:pt x="35822" y="24228"/>
                    <a:pt x="35728" y="24243"/>
                    <a:pt x="35633" y="24260"/>
                  </a:cubicBezTo>
                  <a:cubicBezTo>
                    <a:pt x="35628" y="24240"/>
                    <a:pt x="35628" y="24223"/>
                    <a:pt x="35623" y="24202"/>
                  </a:cubicBezTo>
                  <a:cubicBezTo>
                    <a:pt x="35569" y="24223"/>
                    <a:pt x="35510" y="24234"/>
                    <a:pt x="35452" y="24234"/>
                  </a:cubicBezTo>
                  <a:cubicBezTo>
                    <a:pt x="35425" y="24234"/>
                    <a:pt x="35392" y="24228"/>
                    <a:pt x="35365" y="24228"/>
                  </a:cubicBezTo>
                  <a:cubicBezTo>
                    <a:pt x="35209" y="24202"/>
                    <a:pt x="35075" y="24158"/>
                    <a:pt x="34951" y="24099"/>
                  </a:cubicBezTo>
                  <a:cubicBezTo>
                    <a:pt x="34914" y="24035"/>
                    <a:pt x="34887" y="23955"/>
                    <a:pt x="34871" y="23841"/>
                  </a:cubicBezTo>
                  <a:cubicBezTo>
                    <a:pt x="34817" y="23815"/>
                    <a:pt x="34768" y="23777"/>
                    <a:pt x="34726" y="23739"/>
                  </a:cubicBezTo>
                  <a:cubicBezTo>
                    <a:pt x="34409" y="23665"/>
                    <a:pt x="34339" y="23390"/>
                    <a:pt x="34242" y="23015"/>
                  </a:cubicBezTo>
                  <a:cubicBezTo>
                    <a:pt x="34011" y="22358"/>
                    <a:pt x="34006" y="21483"/>
                    <a:pt x="33915" y="20726"/>
                  </a:cubicBezTo>
                  <a:cubicBezTo>
                    <a:pt x="33684" y="20334"/>
                    <a:pt x="33538" y="19920"/>
                    <a:pt x="33523" y="19464"/>
                  </a:cubicBezTo>
                  <a:cubicBezTo>
                    <a:pt x="33469" y="19388"/>
                    <a:pt x="33409" y="19318"/>
                    <a:pt x="33350" y="19259"/>
                  </a:cubicBezTo>
                  <a:cubicBezTo>
                    <a:pt x="33184" y="19259"/>
                    <a:pt x="33066" y="19167"/>
                    <a:pt x="32990" y="18986"/>
                  </a:cubicBezTo>
                  <a:cubicBezTo>
                    <a:pt x="32995" y="18986"/>
                    <a:pt x="33002" y="18980"/>
                    <a:pt x="33012" y="18980"/>
                  </a:cubicBezTo>
                  <a:cubicBezTo>
                    <a:pt x="32990" y="18964"/>
                    <a:pt x="32970" y="18953"/>
                    <a:pt x="32953" y="18942"/>
                  </a:cubicBezTo>
                  <a:lnTo>
                    <a:pt x="32953" y="18942"/>
                  </a:lnTo>
                  <a:cubicBezTo>
                    <a:pt x="32953" y="18948"/>
                    <a:pt x="32953" y="18958"/>
                    <a:pt x="32958" y="18964"/>
                  </a:cubicBezTo>
                  <a:cubicBezTo>
                    <a:pt x="32690" y="18921"/>
                    <a:pt x="32464" y="18813"/>
                    <a:pt x="32298" y="18614"/>
                  </a:cubicBezTo>
                  <a:cubicBezTo>
                    <a:pt x="31792" y="18405"/>
                    <a:pt x="31255" y="18239"/>
                    <a:pt x="30826" y="17959"/>
                  </a:cubicBezTo>
                  <a:lnTo>
                    <a:pt x="30826" y="17949"/>
                  </a:lnTo>
                  <a:cubicBezTo>
                    <a:pt x="30815" y="17917"/>
                    <a:pt x="30810" y="17905"/>
                    <a:pt x="30810" y="17905"/>
                  </a:cubicBezTo>
                  <a:cubicBezTo>
                    <a:pt x="30793" y="17890"/>
                    <a:pt x="30739" y="17873"/>
                    <a:pt x="30681" y="17857"/>
                  </a:cubicBezTo>
                  <a:cubicBezTo>
                    <a:pt x="30461" y="17685"/>
                    <a:pt x="30272" y="17481"/>
                    <a:pt x="30149" y="17201"/>
                  </a:cubicBezTo>
                  <a:cubicBezTo>
                    <a:pt x="29746" y="16256"/>
                    <a:pt x="30047" y="15123"/>
                    <a:pt x="30025" y="14129"/>
                  </a:cubicBezTo>
                  <a:cubicBezTo>
                    <a:pt x="30009" y="13452"/>
                    <a:pt x="29972" y="12705"/>
                    <a:pt x="29665" y="12093"/>
                  </a:cubicBezTo>
                  <a:cubicBezTo>
                    <a:pt x="29574" y="11899"/>
                    <a:pt x="29439" y="11706"/>
                    <a:pt x="29278" y="11540"/>
                  </a:cubicBezTo>
                  <a:cubicBezTo>
                    <a:pt x="28999" y="11431"/>
                    <a:pt x="28730" y="11314"/>
                    <a:pt x="28542" y="11083"/>
                  </a:cubicBezTo>
                  <a:cubicBezTo>
                    <a:pt x="28444" y="11059"/>
                    <a:pt x="28340" y="11044"/>
                    <a:pt x="28236" y="11044"/>
                  </a:cubicBezTo>
                  <a:cubicBezTo>
                    <a:pt x="28222" y="11044"/>
                    <a:pt x="28207" y="11044"/>
                    <a:pt x="28193" y="11045"/>
                  </a:cubicBezTo>
                  <a:cubicBezTo>
                    <a:pt x="28065" y="11134"/>
                    <a:pt x="27945" y="11257"/>
                    <a:pt x="27787" y="11257"/>
                  </a:cubicBezTo>
                  <a:cubicBezTo>
                    <a:pt x="27745" y="11257"/>
                    <a:pt x="27700" y="11248"/>
                    <a:pt x="27651" y="11228"/>
                  </a:cubicBezTo>
                  <a:cubicBezTo>
                    <a:pt x="27661" y="11206"/>
                    <a:pt x="27677" y="11190"/>
                    <a:pt x="27689" y="11168"/>
                  </a:cubicBezTo>
                  <a:lnTo>
                    <a:pt x="27689" y="11168"/>
                  </a:lnTo>
                  <a:cubicBezTo>
                    <a:pt x="27602" y="11201"/>
                    <a:pt x="27511" y="11223"/>
                    <a:pt x="27426" y="11238"/>
                  </a:cubicBezTo>
                  <a:cubicBezTo>
                    <a:pt x="27455" y="11241"/>
                    <a:pt x="27485" y="11243"/>
                    <a:pt x="27518" y="11243"/>
                  </a:cubicBezTo>
                  <a:cubicBezTo>
                    <a:pt x="27551" y="11243"/>
                    <a:pt x="27586" y="11241"/>
                    <a:pt x="27624" y="11238"/>
                  </a:cubicBezTo>
                  <a:lnTo>
                    <a:pt x="27624" y="11238"/>
                  </a:lnTo>
                  <a:cubicBezTo>
                    <a:pt x="27607" y="11302"/>
                    <a:pt x="27587" y="11362"/>
                    <a:pt x="27570" y="11416"/>
                  </a:cubicBezTo>
                  <a:cubicBezTo>
                    <a:pt x="27500" y="11426"/>
                    <a:pt x="27431" y="11431"/>
                    <a:pt x="27355" y="11431"/>
                  </a:cubicBezTo>
                  <a:cubicBezTo>
                    <a:pt x="27151" y="11431"/>
                    <a:pt x="26990" y="11373"/>
                    <a:pt x="26856" y="11287"/>
                  </a:cubicBezTo>
                  <a:cubicBezTo>
                    <a:pt x="26851" y="11277"/>
                    <a:pt x="26845" y="11260"/>
                    <a:pt x="26839" y="11250"/>
                  </a:cubicBezTo>
                  <a:cubicBezTo>
                    <a:pt x="26593" y="10637"/>
                    <a:pt x="26297" y="10030"/>
                    <a:pt x="26147" y="9380"/>
                  </a:cubicBezTo>
                  <a:cubicBezTo>
                    <a:pt x="26098" y="9256"/>
                    <a:pt x="26040" y="9133"/>
                    <a:pt x="25963" y="9014"/>
                  </a:cubicBezTo>
                  <a:cubicBezTo>
                    <a:pt x="25733" y="8627"/>
                    <a:pt x="25432" y="8305"/>
                    <a:pt x="25105" y="7999"/>
                  </a:cubicBezTo>
                  <a:cubicBezTo>
                    <a:pt x="24932" y="7962"/>
                    <a:pt x="24803" y="7860"/>
                    <a:pt x="24728" y="7677"/>
                  </a:cubicBezTo>
                  <a:cubicBezTo>
                    <a:pt x="24621" y="7585"/>
                    <a:pt x="24508" y="7494"/>
                    <a:pt x="24401" y="7409"/>
                  </a:cubicBezTo>
                  <a:cubicBezTo>
                    <a:pt x="24396" y="7414"/>
                    <a:pt x="24389" y="7419"/>
                    <a:pt x="24384" y="7429"/>
                  </a:cubicBezTo>
                  <a:cubicBezTo>
                    <a:pt x="24314" y="7360"/>
                    <a:pt x="24240" y="7295"/>
                    <a:pt x="24170" y="7231"/>
                  </a:cubicBezTo>
                  <a:cubicBezTo>
                    <a:pt x="24024" y="7215"/>
                    <a:pt x="23938" y="7144"/>
                    <a:pt x="23917" y="7015"/>
                  </a:cubicBezTo>
                  <a:cubicBezTo>
                    <a:pt x="23422" y="6608"/>
                    <a:pt x="22961" y="6177"/>
                    <a:pt x="22623" y="5624"/>
                  </a:cubicBezTo>
                  <a:cubicBezTo>
                    <a:pt x="22257" y="5023"/>
                    <a:pt x="22128" y="4416"/>
                    <a:pt x="22090" y="3799"/>
                  </a:cubicBezTo>
                  <a:cubicBezTo>
                    <a:pt x="21983" y="3331"/>
                    <a:pt x="22090" y="2825"/>
                    <a:pt x="22123" y="2337"/>
                  </a:cubicBezTo>
                  <a:lnTo>
                    <a:pt x="22123" y="2272"/>
                  </a:lnTo>
                  <a:cubicBezTo>
                    <a:pt x="22133" y="2068"/>
                    <a:pt x="22128" y="1870"/>
                    <a:pt x="22085" y="1676"/>
                  </a:cubicBezTo>
                  <a:cubicBezTo>
                    <a:pt x="22036" y="1461"/>
                    <a:pt x="21946" y="1257"/>
                    <a:pt x="21778" y="1064"/>
                  </a:cubicBezTo>
                  <a:cubicBezTo>
                    <a:pt x="21300" y="240"/>
                    <a:pt x="20568" y="1"/>
                    <a:pt x="19715"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O</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94" name="Google Shape;1192;p29">
              <a:extLst>
                <a:ext uri="{FF2B5EF4-FFF2-40B4-BE49-F238E27FC236}">
                  <a16:creationId xmlns:a16="http://schemas.microsoft.com/office/drawing/2014/main" id="{6DEA76A7-3C5F-7811-0D08-F148E79F1B15}"/>
                </a:ext>
              </a:extLst>
            </p:cNvPr>
            <p:cNvSpPr/>
            <p:nvPr/>
          </p:nvSpPr>
          <p:spPr>
            <a:xfrm>
              <a:off x="4666025" y="2829850"/>
              <a:ext cx="4175" cy="3625"/>
            </a:xfrm>
            <a:custGeom>
              <a:avLst/>
              <a:gdLst/>
              <a:ahLst/>
              <a:cxnLst/>
              <a:rect l="l" t="t" r="r" b="b"/>
              <a:pathLst>
                <a:path w="167" h="145" extrusionOk="0">
                  <a:moveTo>
                    <a:pt x="87" y="1"/>
                  </a:moveTo>
                  <a:cubicBezTo>
                    <a:pt x="60" y="38"/>
                    <a:pt x="27" y="70"/>
                    <a:pt x="0" y="108"/>
                  </a:cubicBezTo>
                  <a:cubicBezTo>
                    <a:pt x="27" y="124"/>
                    <a:pt x="55" y="135"/>
                    <a:pt x="80" y="145"/>
                  </a:cubicBezTo>
                  <a:cubicBezTo>
                    <a:pt x="107" y="124"/>
                    <a:pt x="134" y="102"/>
                    <a:pt x="167" y="75"/>
                  </a:cubicBezTo>
                  <a:cubicBezTo>
                    <a:pt x="140" y="48"/>
                    <a:pt x="113" y="28"/>
                    <a:pt x="87"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95" name="Google Shape;1193;p29">
              <a:extLst>
                <a:ext uri="{FF2B5EF4-FFF2-40B4-BE49-F238E27FC236}">
                  <a16:creationId xmlns:a16="http://schemas.microsoft.com/office/drawing/2014/main" id="{A28289E5-205A-BC5E-BB12-98746A50F6EA}"/>
                </a:ext>
              </a:extLst>
            </p:cNvPr>
            <p:cNvSpPr/>
            <p:nvPr/>
          </p:nvSpPr>
          <p:spPr>
            <a:xfrm>
              <a:off x="4570125" y="2247375"/>
              <a:ext cx="700" cy="575"/>
            </a:xfrm>
            <a:custGeom>
              <a:avLst/>
              <a:gdLst/>
              <a:ahLst/>
              <a:cxnLst/>
              <a:rect l="l" t="t" r="r" b="b"/>
              <a:pathLst>
                <a:path w="28" h="23" extrusionOk="0">
                  <a:moveTo>
                    <a:pt x="28" y="0"/>
                  </a:moveTo>
                  <a:lnTo>
                    <a:pt x="1" y="22"/>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96" name="Google Shape;1194;p29">
              <a:extLst>
                <a:ext uri="{FF2B5EF4-FFF2-40B4-BE49-F238E27FC236}">
                  <a16:creationId xmlns:a16="http://schemas.microsoft.com/office/drawing/2014/main" id="{8A8889DB-D5E2-652A-5671-27EF7D115AC7}"/>
                </a:ext>
              </a:extLst>
            </p:cNvPr>
            <p:cNvSpPr/>
            <p:nvPr/>
          </p:nvSpPr>
          <p:spPr>
            <a:xfrm>
              <a:off x="5484750" y="3949950"/>
              <a:ext cx="275" cy="275"/>
            </a:xfrm>
            <a:custGeom>
              <a:avLst/>
              <a:gdLst/>
              <a:ahLst/>
              <a:cxnLst/>
              <a:rect l="l" t="t" r="r" b="b"/>
              <a:pathLst>
                <a:path w="11" h="11" extrusionOk="0">
                  <a:moveTo>
                    <a:pt x="0" y="1"/>
                  </a:moveTo>
                  <a:lnTo>
                    <a:pt x="11" y="11"/>
                  </a:lnTo>
                  <a:lnTo>
                    <a:pt x="11" y="1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97" name="Google Shape;1195;p29">
              <a:extLst>
                <a:ext uri="{FF2B5EF4-FFF2-40B4-BE49-F238E27FC236}">
                  <a16:creationId xmlns:a16="http://schemas.microsoft.com/office/drawing/2014/main" id="{9BEE5FF0-F461-6F98-131F-57F752AFD3D5}"/>
                </a:ext>
              </a:extLst>
            </p:cNvPr>
            <p:cNvSpPr/>
            <p:nvPr/>
          </p:nvSpPr>
          <p:spPr>
            <a:xfrm>
              <a:off x="5478425" y="3782475"/>
              <a:ext cx="25" cy="25"/>
            </a:xfrm>
            <a:custGeom>
              <a:avLst/>
              <a:gdLst/>
              <a:ahLst/>
              <a:cxnLst/>
              <a:rect l="l" t="t" r="r" b="b"/>
              <a:pathLst>
                <a:path w="1" h="1" extrusionOk="0">
                  <a:moveTo>
                    <a:pt x="1" y="0"/>
                  </a:moveTo>
                  <a:lnTo>
                    <a:pt x="1"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98" name="Google Shape;1196;p29">
              <a:extLst>
                <a:ext uri="{FF2B5EF4-FFF2-40B4-BE49-F238E27FC236}">
                  <a16:creationId xmlns:a16="http://schemas.microsoft.com/office/drawing/2014/main" id="{EC57E30A-416F-CBAE-9240-D026D0E10010}"/>
                </a:ext>
              </a:extLst>
            </p:cNvPr>
            <p:cNvSpPr/>
            <p:nvPr/>
          </p:nvSpPr>
          <p:spPr>
            <a:xfrm>
              <a:off x="5331225" y="3273675"/>
              <a:ext cx="753625" cy="762125"/>
            </a:xfrm>
            <a:custGeom>
              <a:avLst/>
              <a:gdLst/>
              <a:ahLst/>
              <a:cxnLst/>
              <a:rect l="l" t="t" r="r" b="b"/>
              <a:pathLst>
                <a:path w="30145" h="30485" extrusionOk="0">
                  <a:moveTo>
                    <a:pt x="13285" y="1"/>
                  </a:moveTo>
                  <a:cubicBezTo>
                    <a:pt x="13214" y="1"/>
                    <a:pt x="13136" y="7"/>
                    <a:pt x="13050" y="18"/>
                  </a:cubicBezTo>
                  <a:cubicBezTo>
                    <a:pt x="10815" y="330"/>
                    <a:pt x="8586" y="636"/>
                    <a:pt x="6350" y="932"/>
                  </a:cubicBezTo>
                  <a:cubicBezTo>
                    <a:pt x="6125" y="878"/>
                    <a:pt x="5938" y="782"/>
                    <a:pt x="5792" y="626"/>
                  </a:cubicBezTo>
                  <a:cubicBezTo>
                    <a:pt x="5749" y="583"/>
                    <a:pt x="5717" y="534"/>
                    <a:pt x="5685" y="481"/>
                  </a:cubicBezTo>
                  <a:cubicBezTo>
                    <a:pt x="5524" y="502"/>
                    <a:pt x="5368" y="524"/>
                    <a:pt x="5207" y="546"/>
                  </a:cubicBezTo>
                  <a:cubicBezTo>
                    <a:pt x="4976" y="712"/>
                    <a:pt x="4691" y="836"/>
                    <a:pt x="4294" y="883"/>
                  </a:cubicBezTo>
                  <a:cubicBezTo>
                    <a:pt x="2993" y="1050"/>
                    <a:pt x="1693" y="1206"/>
                    <a:pt x="393" y="1351"/>
                  </a:cubicBezTo>
                  <a:cubicBezTo>
                    <a:pt x="323" y="1404"/>
                    <a:pt x="265" y="1458"/>
                    <a:pt x="205" y="1528"/>
                  </a:cubicBezTo>
                  <a:cubicBezTo>
                    <a:pt x="188" y="1550"/>
                    <a:pt x="173" y="1571"/>
                    <a:pt x="156" y="1593"/>
                  </a:cubicBezTo>
                  <a:cubicBezTo>
                    <a:pt x="60" y="1738"/>
                    <a:pt x="17" y="1893"/>
                    <a:pt x="0" y="2054"/>
                  </a:cubicBezTo>
                  <a:cubicBezTo>
                    <a:pt x="136" y="2195"/>
                    <a:pt x="232" y="2398"/>
                    <a:pt x="312" y="2694"/>
                  </a:cubicBezTo>
                  <a:cubicBezTo>
                    <a:pt x="887" y="4773"/>
                    <a:pt x="1495" y="6847"/>
                    <a:pt x="2182" y="8888"/>
                  </a:cubicBezTo>
                  <a:cubicBezTo>
                    <a:pt x="2988" y="11284"/>
                    <a:pt x="3412" y="13809"/>
                    <a:pt x="4540" y="16097"/>
                  </a:cubicBezTo>
                  <a:cubicBezTo>
                    <a:pt x="4540" y="16097"/>
                    <a:pt x="4535" y="16092"/>
                    <a:pt x="4530" y="16092"/>
                  </a:cubicBezTo>
                  <a:lnTo>
                    <a:pt x="4530" y="16092"/>
                  </a:lnTo>
                  <a:cubicBezTo>
                    <a:pt x="4642" y="16785"/>
                    <a:pt x="4589" y="17548"/>
                    <a:pt x="5330" y="17972"/>
                  </a:cubicBezTo>
                  <a:cubicBezTo>
                    <a:pt x="5222" y="18381"/>
                    <a:pt x="5985" y="18423"/>
                    <a:pt x="5733" y="18897"/>
                  </a:cubicBezTo>
                  <a:lnTo>
                    <a:pt x="5733" y="18902"/>
                  </a:lnTo>
                  <a:cubicBezTo>
                    <a:pt x="5787" y="19299"/>
                    <a:pt x="5841" y="19697"/>
                    <a:pt x="5899" y="20094"/>
                  </a:cubicBezTo>
                  <a:cubicBezTo>
                    <a:pt x="5889" y="20191"/>
                    <a:pt x="5878" y="20283"/>
                    <a:pt x="5867" y="20374"/>
                  </a:cubicBezTo>
                  <a:cubicBezTo>
                    <a:pt x="5873" y="20369"/>
                    <a:pt x="5878" y="20369"/>
                    <a:pt x="5883" y="20363"/>
                  </a:cubicBezTo>
                  <a:lnTo>
                    <a:pt x="5883" y="20363"/>
                  </a:lnTo>
                  <a:cubicBezTo>
                    <a:pt x="5539" y="21502"/>
                    <a:pt x="5003" y="22625"/>
                    <a:pt x="5609" y="23833"/>
                  </a:cubicBezTo>
                  <a:lnTo>
                    <a:pt x="5598" y="23833"/>
                  </a:lnTo>
                  <a:cubicBezTo>
                    <a:pt x="5615" y="24059"/>
                    <a:pt x="5609" y="24295"/>
                    <a:pt x="5878" y="24392"/>
                  </a:cubicBezTo>
                  <a:cubicBezTo>
                    <a:pt x="6415" y="25230"/>
                    <a:pt x="5470" y="26219"/>
                    <a:pt x="6136" y="27041"/>
                  </a:cubicBezTo>
                  <a:cubicBezTo>
                    <a:pt x="6238" y="27357"/>
                    <a:pt x="6340" y="27674"/>
                    <a:pt x="6657" y="27847"/>
                  </a:cubicBezTo>
                  <a:cubicBezTo>
                    <a:pt x="6576" y="27932"/>
                    <a:pt x="6501" y="28073"/>
                    <a:pt x="6415" y="28083"/>
                  </a:cubicBezTo>
                  <a:cubicBezTo>
                    <a:pt x="6345" y="28093"/>
                    <a:pt x="6275" y="28098"/>
                    <a:pt x="6211" y="28110"/>
                  </a:cubicBezTo>
                  <a:lnTo>
                    <a:pt x="6228" y="28137"/>
                  </a:lnTo>
                  <a:cubicBezTo>
                    <a:pt x="6281" y="28227"/>
                    <a:pt x="6362" y="28298"/>
                    <a:pt x="6453" y="28341"/>
                  </a:cubicBezTo>
                  <a:cubicBezTo>
                    <a:pt x="6453" y="28373"/>
                    <a:pt x="6447" y="28432"/>
                    <a:pt x="6442" y="28480"/>
                  </a:cubicBezTo>
                  <a:cubicBezTo>
                    <a:pt x="6635" y="28529"/>
                    <a:pt x="6808" y="28653"/>
                    <a:pt x="6942" y="28911"/>
                  </a:cubicBezTo>
                  <a:lnTo>
                    <a:pt x="6930" y="28911"/>
                  </a:lnTo>
                  <a:lnTo>
                    <a:pt x="6952" y="28931"/>
                  </a:lnTo>
                  <a:lnTo>
                    <a:pt x="6952" y="28921"/>
                  </a:lnTo>
                  <a:cubicBezTo>
                    <a:pt x="7253" y="29104"/>
                    <a:pt x="7022" y="29652"/>
                    <a:pt x="7473" y="29732"/>
                  </a:cubicBezTo>
                  <a:cubicBezTo>
                    <a:pt x="7626" y="30185"/>
                    <a:pt x="7917" y="30287"/>
                    <a:pt x="8234" y="30287"/>
                  </a:cubicBezTo>
                  <a:cubicBezTo>
                    <a:pt x="8461" y="30287"/>
                    <a:pt x="8702" y="30234"/>
                    <a:pt x="8913" y="30221"/>
                  </a:cubicBezTo>
                  <a:cubicBezTo>
                    <a:pt x="13255" y="29958"/>
                    <a:pt x="17589" y="29705"/>
                    <a:pt x="21919" y="29323"/>
                  </a:cubicBezTo>
                  <a:cubicBezTo>
                    <a:pt x="22031" y="29313"/>
                    <a:pt x="22137" y="29308"/>
                    <a:pt x="22239" y="29308"/>
                  </a:cubicBezTo>
                  <a:cubicBezTo>
                    <a:pt x="22888" y="29308"/>
                    <a:pt x="23324" y="29519"/>
                    <a:pt x="23751" y="29980"/>
                  </a:cubicBezTo>
                  <a:cubicBezTo>
                    <a:pt x="23888" y="30300"/>
                    <a:pt x="24132" y="30484"/>
                    <a:pt x="24416" y="30484"/>
                  </a:cubicBezTo>
                  <a:cubicBezTo>
                    <a:pt x="24455" y="30484"/>
                    <a:pt x="24495" y="30481"/>
                    <a:pt x="24536" y="30473"/>
                  </a:cubicBezTo>
                  <a:cubicBezTo>
                    <a:pt x="24670" y="30414"/>
                    <a:pt x="24767" y="30334"/>
                    <a:pt x="24842" y="30258"/>
                  </a:cubicBezTo>
                  <a:cubicBezTo>
                    <a:pt x="24901" y="30076"/>
                    <a:pt x="24804" y="29807"/>
                    <a:pt x="24837" y="29608"/>
                  </a:cubicBezTo>
                  <a:cubicBezTo>
                    <a:pt x="24955" y="28824"/>
                    <a:pt x="24401" y="28093"/>
                    <a:pt x="24638" y="27299"/>
                  </a:cubicBezTo>
                  <a:cubicBezTo>
                    <a:pt x="24791" y="27178"/>
                    <a:pt x="24943" y="27126"/>
                    <a:pt x="25096" y="27126"/>
                  </a:cubicBezTo>
                  <a:cubicBezTo>
                    <a:pt x="25275" y="27126"/>
                    <a:pt x="25454" y="27198"/>
                    <a:pt x="25632" y="27315"/>
                  </a:cubicBezTo>
                  <a:cubicBezTo>
                    <a:pt x="25691" y="27536"/>
                    <a:pt x="25852" y="27586"/>
                    <a:pt x="26023" y="27586"/>
                  </a:cubicBezTo>
                  <a:cubicBezTo>
                    <a:pt x="26068" y="27586"/>
                    <a:pt x="26113" y="27582"/>
                    <a:pt x="26158" y="27578"/>
                  </a:cubicBezTo>
                  <a:cubicBezTo>
                    <a:pt x="26364" y="27555"/>
                    <a:pt x="26562" y="27542"/>
                    <a:pt x="26748" y="27542"/>
                  </a:cubicBezTo>
                  <a:cubicBezTo>
                    <a:pt x="27060" y="27542"/>
                    <a:pt x="27337" y="27581"/>
                    <a:pt x="27560" y="27686"/>
                  </a:cubicBezTo>
                  <a:cubicBezTo>
                    <a:pt x="27641" y="27637"/>
                    <a:pt x="27721" y="27567"/>
                    <a:pt x="27797" y="27481"/>
                  </a:cubicBezTo>
                  <a:cubicBezTo>
                    <a:pt x="27845" y="27416"/>
                    <a:pt x="27888" y="27347"/>
                    <a:pt x="27921" y="27277"/>
                  </a:cubicBezTo>
                  <a:cubicBezTo>
                    <a:pt x="28119" y="26868"/>
                    <a:pt x="28060" y="26364"/>
                    <a:pt x="27985" y="25998"/>
                  </a:cubicBezTo>
                  <a:cubicBezTo>
                    <a:pt x="27544" y="23753"/>
                    <a:pt x="28452" y="21867"/>
                    <a:pt x="29414" y="19874"/>
                  </a:cubicBezTo>
                  <a:cubicBezTo>
                    <a:pt x="29634" y="19412"/>
                    <a:pt x="29865" y="18939"/>
                    <a:pt x="30074" y="18461"/>
                  </a:cubicBezTo>
                  <a:cubicBezTo>
                    <a:pt x="30145" y="18311"/>
                    <a:pt x="30133" y="18150"/>
                    <a:pt x="30063" y="18010"/>
                  </a:cubicBezTo>
                  <a:cubicBezTo>
                    <a:pt x="29919" y="18166"/>
                    <a:pt x="29741" y="18300"/>
                    <a:pt x="29521" y="18391"/>
                  </a:cubicBezTo>
                  <a:cubicBezTo>
                    <a:pt x="29543" y="18343"/>
                    <a:pt x="29565" y="18294"/>
                    <a:pt x="29585" y="18247"/>
                  </a:cubicBezTo>
                  <a:cubicBezTo>
                    <a:pt x="29550" y="18214"/>
                    <a:pt x="29500" y="18206"/>
                    <a:pt x="29440" y="18206"/>
                  </a:cubicBezTo>
                  <a:cubicBezTo>
                    <a:pt x="29372" y="18206"/>
                    <a:pt x="29293" y="18217"/>
                    <a:pt x="29215" y="18217"/>
                  </a:cubicBezTo>
                  <a:cubicBezTo>
                    <a:pt x="29078" y="18217"/>
                    <a:pt x="28943" y="18183"/>
                    <a:pt x="28871" y="17994"/>
                  </a:cubicBezTo>
                  <a:cubicBezTo>
                    <a:pt x="28855" y="17984"/>
                    <a:pt x="28833" y="17972"/>
                    <a:pt x="28817" y="17962"/>
                  </a:cubicBezTo>
                  <a:cubicBezTo>
                    <a:pt x="28591" y="17823"/>
                    <a:pt x="28360" y="17682"/>
                    <a:pt x="28129" y="17548"/>
                  </a:cubicBezTo>
                  <a:lnTo>
                    <a:pt x="28129" y="17543"/>
                  </a:lnTo>
                  <a:cubicBezTo>
                    <a:pt x="27904" y="16995"/>
                    <a:pt x="27738" y="16430"/>
                    <a:pt x="27770" y="15829"/>
                  </a:cubicBezTo>
                  <a:cubicBezTo>
                    <a:pt x="27463" y="15636"/>
                    <a:pt x="27420" y="15356"/>
                    <a:pt x="27507" y="15029"/>
                  </a:cubicBezTo>
                  <a:lnTo>
                    <a:pt x="27507" y="15029"/>
                  </a:lnTo>
                  <a:cubicBezTo>
                    <a:pt x="27436" y="15034"/>
                    <a:pt x="27368" y="15036"/>
                    <a:pt x="27304" y="15036"/>
                  </a:cubicBezTo>
                  <a:cubicBezTo>
                    <a:pt x="26110" y="15036"/>
                    <a:pt x="25880" y="14208"/>
                    <a:pt x="25905" y="13159"/>
                  </a:cubicBezTo>
                  <a:cubicBezTo>
                    <a:pt x="24901" y="13100"/>
                    <a:pt x="24842" y="12101"/>
                    <a:pt x="24321" y="11558"/>
                  </a:cubicBezTo>
                  <a:cubicBezTo>
                    <a:pt x="24259" y="11567"/>
                    <a:pt x="24200" y="11572"/>
                    <a:pt x="24144" y="11572"/>
                  </a:cubicBezTo>
                  <a:cubicBezTo>
                    <a:pt x="23786" y="11572"/>
                    <a:pt x="23563" y="11377"/>
                    <a:pt x="23488" y="10972"/>
                  </a:cubicBezTo>
                  <a:cubicBezTo>
                    <a:pt x="23215" y="10779"/>
                    <a:pt x="23010" y="10531"/>
                    <a:pt x="22828" y="10268"/>
                  </a:cubicBezTo>
                  <a:cubicBezTo>
                    <a:pt x="22526" y="9829"/>
                    <a:pt x="22290" y="9339"/>
                    <a:pt x="21919" y="8947"/>
                  </a:cubicBezTo>
                  <a:cubicBezTo>
                    <a:pt x="21511" y="8840"/>
                    <a:pt x="20979" y="8937"/>
                    <a:pt x="20834" y="8362"/>
                  </a:cubicBezTo>
                  <a:cubicBezTo>
                    <a:pt x="20820" y="8362"/>
                    <a:pt x="20805" y="8363"/>
                    <a:pt x="20791" y="8363"/>
                  </a:cubicBezTo>
                  <a:cubicBezTo>
                    <a:pt x="20623" y="8363"/>
                    <a:pt x="20521" y="8302"/>
                    <a:pt x="20560" y="8093"/>
                  </a:cubicBezTo>
                  <a:lnTo>
                    <a:pt x="20560" y="8093"/>
                  </a:lnTo>
                  <a:cubicBezTo>
                    <a:pt x="20502" y="8114"/>
                    <a:pt x="20451" y="8124"/>
                    <a:pt x="20404" y="8124"/>
                  </a:cubicBezTo>
                  <a:cubicBezTo>
                    <a:pt x="20224" y="8124"/>
                    <a:pt x="20117" y="7982"/>
                    <a:pt x="20023" y="7803"/>
                  </a:cubicBezTo>
                  <a:lnTo>
                    <a:pt x="20029" y="7803"/>
                  </a:lnTo>
                  <a:cubicBezTo>
                    <a:pt x="19942" y="7722"/>
                    <a:pt x="19862" y="7642"/>
                    <a:pt x="19781" y="7561"/>
                  </a:cubicBezTo>
                  <a:cubicBezTo>
                    <a:pt x="19481" y="7502"/>
                    <a:pt x="19287" y="7320"/>
                    <a:pt x="19211" y="7018"/>
                  </a:cubicBezTo>
                  <a:cubicBezTo>
                    <a:pt x="18400" y="6277"/>
                    <a:pt x="17401" y="5708"/>
                    <a:pt x="17175" y="4466"/>
                  </a:cubicBezTo>
                  <a:cubicBezTo>
                    <a:pt x="17165" y="4402"/>
                    <a:pt x="17128" y="4343"/>
                    <a:pt x="17068" y="4290"/>
                  </a:cubicBezTo>
                  <a:cubicBezTo>
                    <a:pt x="16902" y="4124"/>
                    <a:pt x="16585" y="3983"/>
                    <a:pt x="16375" y="3827"/>
                  </a:cubicBezTo>
                  <a:cubicBezTo>
                    <a:pt x="15779" y="3645"/>
                    <a:pt x="15177" y="3462"/>
                    <a:pt x="14705" y="3021"/>
                  </a:cubicBezTo>
                  <a:cubicBezTo>
                    <a:pt x="14479" y="3016"/>
                    <a:pt x="14254" y="3011"/>
                    <a:pt x="14157" y="2753"/>
                  </a:cubicBezTo>
                  <a:cubicBezTo>
                    <a:pt x="13937" y="2753"/>
                    <a:pt x="13716" y="2737"/>
                    <a:pt x="13625" y="2480"/>
                  </a:cubicBezTo>
                  <a:cubicBezTo>
                    <a:pt x="13329" y="2420"/>
                    <a:pt x="13114" y="2280"/>
                    <a:pt x="13093" y="1947"/>
                  </a:cubicBezTo>
                  <a:cubicBezTo>
                    <a:pt x="12685" y="1770"/>
                    <a:pt x="12803" y="1593"/>
                    <a:pt x="13087" y="1416"/>
                  </a:cubicBezTo>
                  <a:cubicBezTo>
                    <a:pt x="13093" y="1195"/>
                    <a:pt x="13099" y="970"/>
                    <a:pt x="13356" y="878"/>
                  </a:cubicBezTo>
                  <a:cubicBezTo>
                    <a:pt x="13419" y="676"/>
                    <a:pt x="13529" y="568"/>
                    <a:pt x="13694" y="568"/>
                  </a:cubicBezTo>
                  <a:cubicBezTo>
                    <a:pt x="13753" y="568"/>
                    <a:pt x="13819" y="582"/>
                    <a:pt x="13893" y="610"/>
                  </a:cubicBezTo>
                  <a:cubicBezTo>
                    <a:pt x="13872" y="330"/>
                    <a:pt x="13791" y="164"/>
                    <a:pt x="13641" y="78"/>
                  </a:cubicBezTo>
                  <a:cubicBezTo>
                    <a:pt x="13646" y="67"/>
                    <a:pt x="13652" y="56"/>
                    <a:pt x="13657" y="45"/>
                  </a:cubicBezTo>
                  <a:lnTo>
                    <a:pt x="13657" y="45"/>
                  </a:lnTo>
                  <a:cubicBezTo>
                    <a:pt x="13635" y="51"/>
                    <a:pt x="13619" y="51"/>
                    <a:pt x="13597" y="56"/>
                  </a:cubicBezTo>
                  <a:cubicBezTo>
                    <a:pt x="13512" y="19"/>
                    <a:pt x="13410" y="1"/>
                    <a:pt x="13285"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GA</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199" name="Google Shape;1197;p29">
              <a:extLst>
                <a:ext uri="{FF2B5EF4-FFF2-40B4-BE49-F238E27FC236}">
                  <a16:creationId xmlns:a16="http://schemas.microsoft.com/office/drawing/2014/main" id="{A0DAC745-0FF7-F662-3F85-A175FF1AF9FF}"/>
                </a:ext>
              </a:extLst>
            </p:cNvPr>
            <p:cNvSpPr/>
            <p:nvPr/>
          </p:nvSpPr>
          <p:spPr>
            <a:xfrm>
              <a:off x="5845350" y="3475450"/>
              <a:ext cx="550" cy="450"/>
            </a:xfrm>
            <a:custGeom>
              <a:avLst/>
              <a:gdLst/>
              <a:ahLst/>
              <a:cxnLst/>
              <a:rect l="l" t="t" r="r" b="b"/>
              <a:pathLst>
                <a:path w="22" h="18" extrusionOk="0">
                  <a:moveTo>
                    <a:pt x="22" y="17"/>
                  </a:moveTo>
                  <a:lnTo>
                    <a:pt x="22" y="17"/>
                  </a:lnTo>
                  <a:lnTo>
                    <a:pt x="0"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0" name="Google Shape;1198;p29">
              <a:extLst>
                <a:ext uri="{FF2B5EF4-FFF2-40B4-BE49-F238E27FC236}">
                  <a16:creationId xmlns:a16="http://schemas.microsoft.com/office/drawing/2014/main" id="{0F63FCFA-4376-8B0A-6C12-D6B02F1A5B39}"/>
                </a:ext>
              </a:extLst>
            </p:cNvPr>
            <p:cNvSpPr/>
            <p:nvPr/>
          </p:nvSpPr>
          <p:spPr>
            <a:xfrm>
              <a:off x="6019150" y="3649250"/>
              <a:ext cx="275" cy="150"/>
            </a:xfrm>
            <a:custGeom>
              <a:avLst/>
              <a:gdLst/>
              <a:ahLst/>
              <a:cxnLst/>
              <a:rect l="l" t="t" r="r" b="b"/>
              <a:pathLst>
                <a:path w="11" h="6" extrusionOk="0">
                  <a:moveTo>
                    <a:pt x="0" y="0"/>
                  </a:moveTo>
                  <a:lnTo>
                    <a:pt x="10" y="6"/>
                  </a:lnTo>
                  <a:cubicBezTo>
                    <a:pt x="10" y="6"/>
                    <a:pt x="5" y="0"/>
                    <a:pt x="0"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1" name="Google Shape;1199;p29">
              <a:extLst>
                <a:ext uri="{FF2B5EF4-FFF2-40B4-BE49-F238E27FC236}">
                  <a16:creationId xmlns:a16="http://schemas.microsoft.com/office/drawing/2014/main" id="{C6004794-20B2-BD3B-F136-B638E71F5085}"/>
                </a:ext>
              </a:extLst>
            </p:cNvPr>
            <p:cNvSpPr/>
            <p:nvPr/>
          </p:nvSpPr>
          <p:spPr>
            <a:xfrm>
              <a:off x="5658925" y="3322475"/>
              <a:ext cx="25" cy="25"/>
            </a:xfrm>
            <a:custGeom>
              <a:avLst/>
              <a:gdLst/>
              <a:ahLst/>
              <a:cxnLst/>
              <a:rect l="l" t="t" r="r" b="b"/>
              <a:pathLst>
                <a:path w="1" h="1" extrusionOk="0">
                  <a:moveTo>
                    <a:pt x="1" y="0"/>
                  </a:moveTo>
                  <a:lnTo>
                    <a:pt x="1"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2" name="Google Shape;1200;p29">
              <a:extLst>
                <a:ext uri="{FF2B5EF4-FFF2-40B4-BE49-F238E27FC236}">
                  <a16:creationId xmlns:a16="http://schemas.microsoft.com/office/drawing/2014/main" id="{4ECE5911-01A1-231E-013C-BA2405E52F09}"/>
                </a:ext>
              </a:extLst>
            </p:cNvPr>
            <p:cNvSpPr/>
            <p:nvPr/>
          </p:nvSpPr>
          <p:spPr>
            <a:xfrm>
              <a:off x="5938825" y="3562225"/>
              <a:ext cx="550" cy="400"/>
            </a:xfrm>
            <a:custGeom>
              <a:avLst/>
              <a:gdLst/>
              <a:ahLst/>
              <a:cxnLst/>
              <a:rect l="l" t="t" r="r" b="b"/>
              <a:pathLst>
                <a:path w="22" h="16" extrusionOk="0">
                  <a:moveTo>
                    <a:pt x="0" y="0"/>
                  </a:moveTo>
                  <a:cubicBezTo>
                    <a:pt x="7" y="5"/>
                    <a:pt x="12" y="11"/>
                    <a:pt x="17" y="16"/>
                  </a:cubicBezTo>
                  <a:lnTo>
                    <a:pt x="22" y="16"/>
                  </a:lnTo>
                  <a:cubicBezTo>
                    <a:pt x="22" y="16"/>
                    <a:pt x="17" y="11"/>
                    <a:pt x="12" y="5"/>
                  </a:cubicBezTo>
                  <a:lnTo>
                    <a:pt x="0"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3" name="Google Shape;1201;p29">
              <a:extLst>
                <a:ext uri="{FF2B5EF4-FFF2-40B4-BE49-F238E27FC236}">
                  <a16:creationId xmlns:a16="http://schemas.microsoft.com/office/drawing/2014/main" id="{9D0D741C-F278-0719-2385-0DDD78CDD98F}"/>
                </a:ext>
              </a:extLst>
            </p:cNvPr>
            <p:cNvSpPr/>
            <p:nvPr/>
          </p:nvSpPr>
          <p:spPr>
            <a:xfrm>
              <a:off x="5978850" y="3602375"/>
              <a:ext cx="275" cy="300"/>
            </a:xfrm>
            <a:custGeom>
              <a:avLst/>
              <a:gdLst/>
              <a:ahLst/>
              <a:cxnLst/>
              <a:rect l="l" t="t" r="r" b="b"/>
              <a:pathLst>
                <a:path w="11" h="12" extrusionOk="0">
                  <a:moveTo>
                    <a:pt x="0" y="1"/>
                  </a:moveTo>
                  <a:lnTo>
                    <a:pt x="0" y="11"/>
                  </a:lnTo>
                  <a:lnTo>
                    <a:pt x="11" y="11"/>
                  </a:lnTo>
                  <a:cubicBezTo>
                    <a:pt x="11" y="6"/>
                    <a:pt x="6" y="6"/>
                    <a:pt x="6"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4" name="Google Shape;1202;p29">
              <a:extLst>
                <a:ext uri="{FF2B5EF4-FFF2-40B4-BE49-F238E27FC236}">
                  <a16:creationId xmlns:a16="http://schemas.microsoft.com/office/drawing/2014/main" id="{003C6A52-6E06-17A7-C4D3-2B4DD9ED0949}"/>
                </a:ext>
              </a:extLst>
            </p:cNvPr>
            <p:cNvSpPr/>
            <p:nvPr/>
          </p:nvSpPr>
          <p:spPr>
            <a:xfrm>
              <a:off x="5939350" y="3562600"/>
              <a:ext cx="25" cy="25"/>
            </a:xfrm>
            <a:custGeom>
              <a:avLst/>
              <a:gdLst/>
              <a:ahLst/>
              <a:cxnLst/>
              <a:rect l="l" t="t" r="r" b="b"/>
              <a:pathLst>
                <a:path w="1" h="1" extrusionOk="0">
                  <a:moveTo>
                    <a:pt x="1" y="1"/>
                  </a:moveTo>
                  <a:lnTo>
                    <a:pt x="1"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5" name="Google Shape;1203;p29">
              <a:extLst>
                <a:ext uri="{FF2B5EF4-FFF2-40B4-BE49-F238E27FC236}">
                  <a16:creationId xmlns:a16="http://schemas.microsoft.com/office/drawing/2014/main" id="{579547BC-A3D1-5B7C-1D30-7939EF940F2C}"/>
                </a:ext>
              </a:extLst>
            </p:cNvPr>
            <p:cNvSpPr/>
            <p:nvPr/>
          </p:nvSpPr>
          <p:spPr>
            <a:xfrm>
              <a:off x="5658375" y="3321950"/>
              <a:ext cx="575" cy="550"/>
            </a:xfrm>
            <a:custGeom>
              <a:avLst/>
              <a:gdLst/>
              <a:ahLst/>
              <a:cxnLst/>
              <a:rect l="l" t="t" r="r" b="b"/>
              <a:pathLst>
                <a:path w="23" h="22" extrusionOk="0">
                  <a:moveTo>
                    <a:pt x="1" y="1"/>
                  </a:moveTo>
                  <a:cubicBezTo>
                    <a:pt x="1" y="6"/>
                    <a:pt x="7" y="11"/>
                    <a:pt x="7" y="16"/>
                  </a:cubicBezTo>
                  <a:cubicBezTo>
                    <a:pt x="13" y="16"/>
                    <a:pt x="18" y="21"/>
                    <a:pt x="23" y="21"/>
                  </a:cubicBezTo>
                  <a:lnTo>
                    <a:pt x="1"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6" name="Google Shape;1204;p29">
              <a:extLst>
                <a:ext uri="{FF2B5EF4-FFF2-40B4-BE49-F238E27FC236}">
                  <a16:creationId xmlns:a16="http://schemas.microsoft.com/office/drawing/2014/main" id="{0BE87C21-2C14-C12B-F7ED-F20A6C058D1A}"/>
                </a:ext>
              </a:extLst>
            </p:cNvPr>
            <p:cNvSpPr/>
            <p:nvPr/>
          </p:nvSpPr>
          <p:spPr>
            <a:xfrm>
              <a:off x="5671575" y="3335225"/>
              <a:ext cx="825" cy="700"/>
            </a:xfrm>
            <a:custGeom>
              <a:avLst/>
              <a:gdLst/>
              <a:ahLst/>
              <a:cxnLst/>
              <a:rect l="l" t="t" r="r" b="b"/>
              <a:pathLst>
                <a:path w="33" h="28" extrusionOk="0">
                  <a:moveTo>
                    <a:pt x="0" y="1"/>
                  </a:moveTo>
                  <a:lnTo>
                    <a:pt x="0" y="1"/>
                  </a:lnTo>
                  <a:cubicBezTo>
                    <a:pt x="5" y="11"/>
                    <a:pt x="5" y="11"/>
                    <a:pt x="11" y="18"/>
                  </a:cubicBezTo>
                  <a:cubicBezTo>
                    <a:pt x="15" y="22"/>
                    <a:pt x="25" y="23"/>
                    <a:pt x="31" y="27"/>
                  </a:cubicBezTo>
                  <a:lnTo>
                    <a:pt x="31" y="27"/>
                  </a:lnTo>
                  <a:lnTo>
                    <a:pt x="0" y="1"/>
                  </a:lnTo>
                  <a:close/>
                  <a:moveTo>
                    <a:pt x="31" y="27"/>
                  </a:moveTo>
                  <a:lnTo>
                    <a:pt x="32" y="28"/>
                  </a:lnTo>
                  <a:cubicBezTo>
                    <a:pt x="32" y="28"/>
                    <a:pt x="32" y="27"/>
                    <a:pt x="31" y="27"/>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7" name="Google Shape;1205;p29">
              <a:extLst>
                <a:ext uri="{FF2B5EF4-FFF2-40B4-BE49-F238E27FC236}">
                  <a16:creationId xmlns:a16="http://schemas.microsoft.com/office/drawing/2014/main" id="{CB23A384-CC22-3B5F-B014-C8D9C7A03A51}"/>
                </a:ext>
              </a:extLst>
            </p:cNvPr>
            <p:cNvSpPr/>
            <p:nvPr/>
          </p:nvSpPr>
          <p:spPr>
            <a:xfrm>
              <a:off x="5851950" y="3482025"/>
              <a:ext cx="675" cy="700"/>
            </a:xfrm>
            <a:custGeom>
              <a:avLst/>
              <a:gdLst/>
              <a:ahLst/>
              <a:cxnLst/>
              <a:rect l="l" t="t" r="r" b="b"/>
              <a:pathLst>
                <a:path w="27" h="28" extrusionOk="0">
                  <a:moveTo>
                    <a:pt x="0" y="0"/>
                  </a:moveTo>
                  <a:cubicBezTo>
                    <a:pt x="5" y="12"/>
                    <a:pt x="5" y="17"/>
                    <a:pt x="5" y="28"/>
                  </a:cubicBezTo>
                  <a:lnTo>
                    <a:pt x="26" y="28"/>
                  </a:lnTo>
                  <a:lnTo>
                    <a:pt x="0"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8" name="Google Shape;1206;p29">
              <a:extLst>
                <a:ext uri="{FF2B5EF4-FFF2-40B4-BE49-F238E27FC236}">
                  <a16:creationId xmlns:a16="http://schemas.microsoft.com/office/drawing/2014/main" id="{536E2D80-9527-D200-29BB-749159DE13EA}"/>
                </a:ext>
              </a:extLst>
            </p:cNvPr>
            <p:cNvSpPr/>
            <p:nvPr/>
          </p:nvSpPr>
          <p:spPr>
            <a:xfrm>
              <a:off x="5684975" y="3341950"/>
              <a:ext cx="700" cy="550"/>
            </a:xfrm>
            <a:custGeom>
              <a:avLst/>
              <a:gdLst/>
              <a:ahLst/>
              <a:cxnLst/>
              <a:rect l="l" t="t" r="r" b="b"/>
              <a:pathLst>
                <a:path w="28" h="22" extrusionOk="0">
                  <a:moveTo>
                    <a:pt x="1" y="0"/>
                  </a:moveTo>
                  <a:cubicBezTo>
                    <a:pt x="1" y="12"/>
                    <a:pt x="7" y="12"/>
                    <a:pt x="7" y="22"/>
                  </a:cubicBezTo>
                  <a:lnTo>
                    <a:pt x="28" y="22"/>
                  </a:lnTo>
                  <a:lnTo>
                    <a:pt x="1"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09" name="Google Shape;1207;p29">
              <a:extLst>
                <a:ext uri="{FF2B5EF4-FFF2-40B4-BE49-F238E27FC236}">
                  <a16:creationId xmlns:a16="http://schemas.microsoft.com/office/drawing/2014/main" id="{5B26CB15-F097-8F9E-9536-2E2C70144B5E}"/>
                </a:ext>
              </a:extLst>
            </p:cNvPr>
            <p:cNvSpPr/>
            <p:nvPr/>
          </p:nvSpPr>
          <p:spPr>
            <a:xfrm>
              <a:off x="6018875" y="3649250"/>
              <a:ext cx="550" cy="150"/>
            </a:xfrm>
            <a:custGeom>
              <a:avLst/>
              <a:gdLst/>
              <a:ahLst/>
              <a:cxnLst/>
              <a:rect l="l" t="t" r="r" b="b"/>
              <a:pathLst>
                <a:path w="22" h="6" extrusionOk="0">
                  <a:moveTo>
                    <a:pt x="1" y="0"/>
                  </a:moveTo>
                  <a:lnTo>
                    <a:pt x="1" y="6"/>
                  </a:lnTo>
                  <a:lnTo>
                    <a:pt x="21" y="6"/>
                  </a:lnTo>
                  <a:cubicBezTo>
                    <a:pt x="11" y="6"/>
                    <a:pt x="11" y="0"/>
                    <a:pt x="1"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10" name="Google Shape;1208;p29">
              <a:extLst>
                <a:ext uri="{FF2B5EF4-FFF2-40B4-BE49-F238E27FC236}">
                  <a16:creationId xmlns:a16="http://schemas.microsoft.com/office/drawing/2014/main" id="{002E6ADC-C1CB-5AD4-0F15-8DD14C2885EE}"/>
                </a:ext>
              </a:extLst>
            </p:cNvPr>
            <p:cNvSpPr/>
            <p:nvPr/>
          </p:nvSpPr>
          <p:spPr>
            <a:xfrm>
              <a:off x="6025450" y="3668975"/>
              <a:ext cx="575" cy="825"/>
            </a:xfrm>
            <a:custGeom>
              <a:avLst/>
              <a:gdLst/>
              <a:ahLst/>
              <a:cxnLst/>
              <a:rect l="l" t="t" r="r" b="b"/>
              <a:pathLst>
                <a:path w="23" h="33" extrusionOk="0">
                  <a:moveTo>
                    <a:pt x="6" y="1"/>
                  </a:moveTo>
                  <a:cubicBezTo>
                    <a:pt x="1" y="6"/>
                    <a:pt x="1" y="12"/>
                    <a:pt x="1" y="17"/>
                  </a:cubicBezTo>
                  <a:cubicBezTo>
                    <a:pt x="11" y="22"/>
                    <a:pt x="16" y="28"/>
                    <a:pt x="23" y="33"/>
                  </a:cubicBezTo>
                  <a:lnTo>
                    <a:pt x="6"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11" name="Google Shape;1209;p29">
              <a:extLst>
                <a:ext uri="{FF2B5EF4-FFF2-40B4-BE49-F238E27FC236}">
                  <a16:creationId xmlns:a16="http://schemas.microsoft.com/office/drawing/2014/main" id="{59CB1DB1-9CA0-5373-03D9-BE574974C643}"/>
                </a:ext>
              </a:extLst>
            </p:cNvPr>
            <p:cNvSpPr/>
            <p:nvPr/>
          </p:nvSpPr>
          <p:spPr>
            <a:xfrm>
              <a:off x="5658375" y="3308775"/>
              <a:ext cx="575" cy="825"/>
            </a:xfrm>
            <a:custGeom>
              <a:avLst/>
              <a:gdLst/>
              <a:ahLst/>
              <a:cxnLst/>
              <a:rect l="l" t="t" r="r" b="b"/>
              <a:pathLst>
                <a:path w="23" h="33" extrusionOk="0">
                  <a:moveTo>
                    <a:pt x="23" y="0"/>
                  </a:moveTo>
                  <a:lnTo>
                    <a:pt x="23" y="0"/>
                  </a:lnTo>
                  <a:cubicBezTo>
                    <a:pt x="18" y="5"/>
                    <a:pt x="13" y="5"/>
                    <a:pt x="1" y="12"/>
                  </a:cubicBezTo>
                  <a:lnTo>
                    <a:pt x="1" y="33"/>
                  </a:lnTo>
                  <a:lnTo>
                    <a:pt x="23"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12" name="Google Shape;1210;p29">
              <a:extLst>
                <a:ext uri="{FF2B5EF4-FFF2-40B4-BE49-F238E27FC236}">
                  <a16:creationId xmlns:a16="http://schemas.microsoft.com/office/drawing/2014/main" id="{BD9CFD86-28C2-435A-A34A-D73BFD29FFFE}"/>
                </a:ext>
              </a:extLst>
            </p:cNvPr>
            <p:cNvSpPr/>
            <p:nvPr/>
          </p:nvSpPr>
          <p:spPr>
            <a:xfrm>
              <a:off x="5678525" y="3289300"/>
              <a:ext cx="325" cy="150"/>
            </a:xfrm>
            <a:custGeom>
              <a:avLst/>
              <a:gdLst/>
              <a:ahLst/>
              <a:cxnLst/>
              <a:rect l="l" t="t" r="r" b="b"/>
              <a:pathLst>
                <a:path w="13" h="6" extrusionOk="0">
                  <a:moveTo>
                    <a:pt x="12" y="1"/>
                  </a:moveTo>
                  <a:cubicBezTo>
                    <a:pt x="7" y="1"/>
                    <a:pt x="1" y="6"/>
                    <a:pt x="1" y="6"/>
                  </a:cubicBezTo>
                  <a:lnTo>
                    <a:pt x="12"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13" name="Google Shape;1211;p29">
              <a:extLst>
                <a:ext uri="{FF2B5EF4-FFF2-40B4-BE49-F238E27FC236}">
                  <a16:creationId xmlns:a16="http://schemas.microsoft.com/office/drawing/2014/main" id="{E1FCEC09-DC09-E38F-66DE-DE72CC11CC85}"/>
                </a:ext>
              </a:extLst>
            </p:cNvPr>
            <p:cNvSpPr/>
            <p:nvPr/>
          </p:nvSpPr>
          <p:spPr>
            <a:xfrm>
              <a:off x="5825200" y="3462000"/>
              <a:ext cx="700" cy="700"/>
            </a:xfrm>
            <a:custGeom>
              <a:avLst/>
              <a:gdLst/>
              <a:ahLst/>
              <a:cxnLst/>
              <a:rect l="l" t="t" r="r" b="b"/>
              <a:pathLst>
                <a:path w="28" h="28" extrusionOk="0">
                  <a:moveTo>
                    <a:pt x="0" y="1"/>
                  </a:moveTo>
                  <a:cubicBezTo>
                    <a:pt x="2" y="3"/>
                    <a:pt x="3" y="6"/>
                    <a:pt x="5" y="8"/>
                  </a:cubicBezTo>
                  <a:lnTo>
                    <a:pt x="5" y="8"/>
                  </a:lnTo>
                  <a:lnTo>
                    <a:pt x="0" y="1"/>
                  </a:lnTo>
                  <a:close/>
                  <a:moveTo>
                    <a:pt x="5" y="8"/>
                  </a:moveTo>
                  <a:lnTo>
                    <a:pt x="12" y="18"/>
                  </a:lnTo>
                  <a:lnTo>
                    <a:pt x="18" y="22"/>
                  </a:lnTo>
                  <a:lnTo>
                    <a:pt x="18" y="22"/>
                  </a:lnTo>
                  <a:cubicBezTo>
                    <a:pt x="14" y="17"/>
                    <a:pt x="9" y="13"/>
                    <a:pt x="5" y="8"/>
                  </a:cubicBezTo>
                  <a:close/>
                  <a:moveTo>
                    <a:pt x="18" y="22"/>
                  </a:moveTo>
                  <a:cubicBezTo>
                    <a:pt x="20" y="24"/>
                    <a:pt x="21" y="26"/>
                    <a:pt x="22" y="28"/>
                  </a:cubicBezTo>
                  <a:lnTo>
                    <a:pt x="27" y="28"/>
                  </a:lnTo>
                  <a:lnTo>
                    <a:pt x="18" y="22"/>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14" name="Google Shape;1212;p29">
              <a:extLst>
                <a:ext uri="{FF2B5EF4-FFF2-40B4-BE49-F238E27FC236}">
                  <a16:creationId xmlns:a16="http://schemas.microsoft.com/office/drawing/2014/main" id="{6CC2EA9B-D6F3-9D13-6AA8-D5F78FFAB41A}"/>
                </a:ext>
              </a:extLst>
            </p:cNvPr>
            <p:cNvSpPr/>
            <p:nvPr/>
          </p:nvSpPr>
          <p:spPr>
            <a:xfrm>
              <a:off x="5678525" y="3288925"/>
              <a:ext cx="450" cy="525"/>
            </a:xfrm>
            <a:custGeom>
              <a:avLst/>
              <a:gdLst/>
              <a:ahLst/>
              <a:cxnLst/>
              <a:rect l="l" t="t" r="r" b="b"/>
              <a:pathLst>
                <a:path w="18" h="21" extrusionOk="0">
                  <a:moveTo>
                    <a:pt x="1" y="0"/>
                  </a:moveTo>
                  <a:lnTo>
                    <a:pt x="1" y="21"/>
                  </a:lnTo>
                  <a:cubicBezTo>
                    <a:pt x="7" y="16"/>
                    <a:pt x="12" y="10"/>
                    <a:pt x="17" y="5"/>
                  </a:cubicBezTo>
                  <a:cubicBezTo>
                    <a:pt x="12" y="0"/>
                    <a:pt x="7" y="0"/>
                    <a:pt x="1"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15" name="Google Shape;1213;p29">
              <a:extLst>
                <a:ext uri="{FF2B5EF4-FFF2-40B4-BE49-F238E27FC236}">
                  <a16:creationId xmlns:a16="http://schemas.microsoft.com/office/drawing/2014/main" id="{D5C93EEF-17C3-2A4B-207F-9319213F1F72}"/>
                </a:ext>
              </a:extLst>
            </p:cNvPr>
            <p:cNvSpPr/>
            <p:nvPr/>
          </p:nvSpPr>
          <p:spPr>
            <a:xfrm>
              <a:off x="5845200" y="3475450"/>
              <a:ext cx="575" cy="575"/>
            </a:xfrm>
            <a:custGeom>
              <a:avLst/>
              <a:gdLst/>
              <a:ahLst/>
              <a:cxnLst/>
              <a:rect l="l" t="t" r="r" b="b"/>
              <a:pathLst>
                <a:path w="23" h="23" extrusionOk="0">
                  <a:moveTo>
                    <a:pt x="6" y="0"/>
                  </a:moveTo>
                  <a:cubicBezTo>
                    <a:pt x="6" y="6"/>
                    <a:pt x="6" y="17"/>
                    <a:pt x="1" y="22"/>
                  </a:cubicBezTo>
                  <a:cubicBezTo>
                    <a:pt x="12" y="22"/>
                    <a:pt x="18" y="17"/>
                    <a:pt x="23" y="17"/>
                  </a:cubicBezTo>
                  <a:cubicBezTo>
                    <a:pt x="18" y="11"/>
                    <a:pt x="12" y="6"/>
                    <a:pt x="6"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16" name="Google Shape;1214;p29">
              <a:extLst>
                <a:ext uri="{FF2B5EF4-FFF2-40B4-BE49-F238E27FC236}">
                  <a16:creationId xmlns:a16="http://schemas.microsoft.com/office/drawing/2014/main" id="{0E370222-D8BB-F948-7283-5DDC31849673}"/>
                </a:ext>
              </a:extLst>
            </p:cNvPr>
            <p:cNvSpPr/>
            <p:nvPr/>
          </p:nvSpPr>
          <p:spPr>
            <a:xfrm>
              <a:off x="5698300" y="3348675"/>
              <a:ext cx="825" cy="550"/>
            </a:xfrm>
            <a:custGeom>
              <a:avLst/>
              <a:gdLst/>
              <a:ahLst/>
              <a:cxnLst/>
              <a:rect l="l" t="t" r="r" b="b"/>
              <a:pathLst>
                <a:path w="33" h="22" extrusionOk="0">
                  <a:moveTo>
                    <a:pt x="0" y="1"/>
                  </a:moveTo>
                  <a:cubicBezTo>
                    <a:pt x="5" y="6"/>
                    <a:pt x="16" y="11"/>
                    <a:pt x="22" y="21"/>
                  </a:cubicBezTo>
                  <a:lnTo>
                    <a:pt x="32" y="21"/>
                  </a:lnTo>
                  <a:lnTo>
                    <a:pt x="0"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17" name="Google Shape;1215;p29">
              <a:extLst>
                <a:ext uri="{FF2B5EF4-FFF2-40B4-BE49-F238E27FC236}">
                  <a16:creationId xmlns:a16="http://schemas.microsoft.com/office/drawing/2014/main" id="{6725F904-217C-9969-82DF-5DCDF3D4B717}"/>
                </a:ext>
              </a:extLst>
            </p:cNvPr>
            <p:cNvSpPr/>
            <p:nvPr/>
          </p:nvSpPr>
          <p:spPr>
            <a:xfrm>
              <a:off x="5665000" y="3295500"/>
              <a:ext cx="650" cy="700"/>
            </a:xfrm>
            <a:custGeom>
              <a:avLst/>
              <a:gdLst/>
              <a:ahLst/>
              <a:cxnLst/>
              <a:rect l="l" t="t" r="r" b="b"/>
              <a:pathLst>
                <a:path w="26" h="28" extrusionOk="0">
                  <a:moveTo>
                    <a:pt x="26" y="0"/>
                  </a:moveTo>
                  <a:cubicBezTo>
                    <a:pt x="21" y="0"/>
                    <a:pt x="16" y="5"/>
                    <a:pt x="5" y="5"/>
                  </a:cubicBezTo>
                  <a:cubicBezTo>
                    <a:pt x="5" y="10"/>
                    <a:pt x="5" y="16"/>
                    <a:pt x="0" y="27"/>
                  </a:cubicBezTo>
                  <a:lnTo>
                    <a:pt x="26"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18" name="Google Shape;1216;p29">
              <a:extLst>
                <a:ext uri="{FF2B5EF4-FFF2-40B4-BE49-F238E27FC236}">
                  <a16:creationId xmlns:a16="http://schemas.microsoft.com/office/drawing/2014/main" id="{5458608A-9254-1CF6-88FA-A460839B4EBC}"/>
                </a:ext>
              </a:extLst>
            </p:cNvPr>
            <p:cNvSpPr/>
            <p:nvPr/>
          </p:nvSpPr>
          <p:spPr>
            <a:xfrm>
              <a:off x="3810775" y="1896150"/>
              <a:ext cx="826250" cy="553250"/>
            </a:xfrm>
            <a:custGeom>
              <a:avLst/>
              <a:gdLst/>
              <a:ahLst/>
              <a:cxnLst/>
              <a:rect l="l" t="t" r="r" b="b"/>
              <a:pathLst>
                <a:path w="33050" h="22130" extrusionOk="0">
                  <a:moveTo>
                    <a:pt x="26460" y="1"/>
                  </a:moveTo>
                  <a:cubicBezTo>
                    <a:pt x="26349" y="1"/>
                    <a:pt x="26242" y="59"/>
                    <a:pt x="26174" y="141"/>
                  </a:cubicBezTo>
                  <a:cubicBezTo>
                    <a:pt x="26066" y="184"/>
                    <a:pt x="25921" y="206"/>
                    <a:pt x="25723" y="211"/>
                  </a:cubicBezTo>
                  <a:cubicBezTo>
                    <a:pt x="18905" y="360"/>
                    <a:pt x="12093" y="554"/>
                    <a:pt x="5275" y="737"/>
                  </a:cubicBezTo>
                  <a:cubicBezTo>
                    <a:pt x="5131" y="732"/>
                    <a:pt x="4990" y="721"/>
                    <a:pt x="4851" y="710"/>
                  </a:cubicBezTo>
                  <a:cubicBezTo>
                    <a:pt x="4583" y="754"/>
                    <a:pt x="4298" y="774"/>
                    <a:pt x="3965" y="774"/>
                  </a:cubicBezTo>
                  <a:cubicBezTo>
                    <a:pt x="3696" y="774"/>
                    <a:pt x="3428" y="759"/>
                    <a:pt x="3153" y="742"/>
                  </a:cubicBezTo>
                  <a:cubicBezTo>
                    <a:pt x="2998" y="774"/>
                    <a:pt x="2837" y="818"/>
                    <a:pt x="2676" y="883"/>
                  </a:cubicBezTo>
                  <a:cubicBezTo>
                    <a:pt x="2285" y="919"/>
                    <a:pt x="1987" y="948"/>
                    <a:pt x="1759" y="948"/>
                  </a:cubicBezTo>
                  <a:cubicBezTo>
                    <a:pt x="1429" y="948"/>
                    <a:pt x="1248" y="888"/>
                    <a:pt x="1149" y="710"/>
                  </a:cubicBezTo>
                  <a:cubicBezTo>
                    <a:pt x="1102" y="715"/>
                    <a:pt x="1058" y="727"/>
                    <a:pt x="1010" y="737"/>
                  </a:cubicBezTo>
                  <a:cubicBezTo>
                    <a:pt x="968" y="747"/>
                    <a:pt x="683" y="861"/>
                    <a:pt x="639" y="871"/>
                  </a:cubicBezTo>
                  <a:lnTo>
                    <a:pt x="33" y="6571"/>
                  </a:lnTo>
                  <a:cubicBezTo>
                    <a:pt x="33" y="6636"/>
                    <a:pt x="33" y="6705"/>
                    <a:pt x="26" y="6770"/>
                  </a:cubicBezTo>
                  <a:cubicBezTo>
                    <a:pt x="11" y="7221"/>
                    <a:pt x="1" y="7635"/>
                    <a:pt x="6" y="8016"/>
                  </a:cubicBezTo>
                  <a:cubicBezTo>
                    <a:pt x="6" y="8167"/>
                    <a:pt x="11" y="8307"/>
                    <a:pt x="21" y="8446"/>
                  </a:cubicBezTo>
                  <a:cubicBezTo>
                    <a:pt x="6" y="8924"/>
                    <a:pt x="86" y="9365"/>
                    <a:pt x="226" y="9773"/>
                  </a:cubicBezTo>
                  <a:cubicBezTo>
                    <a:pt x="269" y="9908"/>
                    <a:pt x="323" y="10042"/>
                    <a:pt x="381" y="10171"/>
                  </a:cubicBezTo>
                  <a:cubicBezTo>
                    <a:pt x="264" y="10868"/>
                    <a:pt x="537" y="11471"/>
                    <a:pt x="956" y="12040"/>
                  </a:cubicBezTo>
                  <a:cubicBezTo>
                    <a:pt x="1037" y="12153"/>
                    <a:pt x="1129" y="12266"/>
                    <a:pt x="1225" y="12378"/>
                  </a:cubicBezTo>
                  <a:cubicBezTo>
                    <a:pt x="1483" y="12685"/>
                    <a:pt x="1697" y="13023"/>
                    <a:pt x="1875" y="13383"/>
                  </a:cubicBezTo>
                  <a:cubicBezTo>
                    <a:pt x="1935" y="13506"/>
                    <a:pt x="1993" y="13625"/>
                    <a:pt x="2047" y="13749"/>
                  </a:cubicBezTo>
                  <a:cubicBezTo>
                    <a:pt x="2128" y="14076"/>
                    <a:pt x="2230" y="14399"/>
                    <a:pt x="2337" y="14721"/>
                  </a:cubicBezTo>
                  <a:cubicBezTo>
                    <a:pt x="2374" y="14828"/>
                    <a:pt x="2412" y="14930"/>
                    <a:pt x="2450" y="15038"/>
                  </a:cubicBezTo>
                  <a:cubicBezTo>
                    <a:pt x="1950" y="16660"/>
                    <a:pt x="3277" y="17321"/>
                    <a:pt x="3100" y="18798"/>
                  </a:cubicBezTo>
                  <a:cubicBezTo>
                    <a:pt x="3105" y="18916"/>
                    <a:pt x="3110" y="19030"/>
                    <a:pt x="3121" y="19147"/>
                  </a:cubicBezTo>
                  <a:cubicBezTo>
                    <a:pt x="3192" y="20287"/>
                    <a:pt x="4357" y="21527"/>
                    <a:pt x="4357" y="21527"/>
                  </a:cubicBezTo>
                  <a:cubicBezTo>
                    <a:pt x="4486" y="21522"/>
                    <a:pt x="5818" y="21247"/>
                    <a:pt x="5947" y="21242"/>
                  </a:cubicBezTo>
                  <a:cubicBezTo>
                    <a:pt x="7859" y="21162"/>
                    <a:pt x="9778" y="21093"/>
                    <a:pt x="11690" y="21001"/>
                  </a:cubicBezTo>
                  <a:cubicBezTo>
                    <a:pt x="14876" y="20850"/>
                    <a:pt x="18067" y="20867"/>
                    <a:pt x="21242" y="20523"/>
                  </a:cubicBezTo>
                  <a:cubicBezTo>
                    <a:pt x="21661" y="20513"/>
                    <a:pt x="22080" y="20513"/>
                    <a:pt x="22499" y="20506"/>
                  </a:cubicBezTo>
                  <a:cubicBezTo>
                    <a:pt x="22918" y="20501"/>
                    <a:pt x="23337" y="20491"/>
                    <a:pt x="23756" y="20464"/>
                  </a:cubicBezTo>
                  <a:cubicBezTo>
                    <a:pt x="23863" y="20457"/>
                    <a:pt x="23969" y="20454"/>
                    <a:pt x="24072" y="20454"/>
                  </a:cubicBezTo>
                  <a:cubicBezTo>
                    <a:pt x="24925" y="20454"/>
                    <a:pt x="25657" y="20693"/>
                    <a:pt x="26135" y="21517"/>
                  </a:cubicBezTo>
                  <a:cubicBezTo>
                    <a:pt x="26303" y="21710"/>
                    <a:pt x="26393" y="21914"/>
                    <a:pt x="26442" y="22129"/>
                  </a:cubicBezTo>
                  <a:lnTo>
                    <a:pt x="26464" y="22129"/>
                  </a:lnTo>
                  <a:cubicBezTo>
                    <a:pt x="26668" y="22129"/>
                    <a:pt x="26899" y="22070"/>
                    <a:pt x="27055" y="21860"/>
                  </a:cubicBezTo>
                  <a:cubicBezTo>
                    <a:pt x="27082" y="21807"/>
                    <a:pt x="27097" y="21748"/>
                    <a:pt x="27119" y="21694"/>
                  </a:cubicBezTo>
                  <a:cubicBezTo>
                    <a:pt x="27285" y="21312"/>
                    <a:pt x="27114" y="21039"/>
                    <a:pt x="26851" y="20786"/>
                  </a:cubicBezTo>
                  <a:cubicBezTo>
                    <a:pt x="28134" y="20163"/>
                    <a:pt x="29096" y="18798"/>
                    <a:pt x="29165" y="17386"/>
                  </a:cubicBezTo>
                  <a:cubicBezTo>
                    <a:pt x="29177" y="17198"/>
                    <a:pt x="29048" y="17004"/>
                    <a:pt x="28929" y="16843"/>
                  </a:cubicBezTo>
                  <a:cubicBezTo>
                    <a:pt x="28892" y="16767"/>
                    <a:pt x="28838" y="16692"/>
                    <a:pt x="28768" y="16618"/>
                  </a:cubicBezTo>
                  <a:cubicBezTo>
                    <a:pt x="28069" y="15532"/>
                    <a:pt x="29197" y="14984"/>
                    <a:pt x="29988" y="14490"/>
                  </a:cubicBezTo>
                  <a:cubicBezTo>
                    <a:pt x="30816" y="13980"/>
                    <a:pt x="31686" y="13754"/>
                    <a:pt x="32217" y="12851"/>
                  </a:cubicBezTo>
                  <a:cubicBezTo>
                    <a:pt x="32750" y="11959"/>
                    <a:pt x="33023" y="11148"/>
                    <a:pt x="32969" y="10364"/>
                  </a:cubicBezTo>
                  <a:cubicBezTo>
                    <a:pt x="33050" y="10112"/>
                    <a:pt x="33007" y="9896"/>
                    <a:pt x="32840" y="9698"/>
                  </a:cubicBezTo>
                  <a:cubicBezTo>
                    <a:pt x="32690" y="9236"/>
                    <a:pt x="32427" y="8785"/>
                    <a:pt x="32013" y="8322"/>
                  </a:cubicBezTo>
                  <a:cubicBezTo>
                    <a:pt x="31267" y="7506"/>
                    <a:pt x="30375" y="6523"/>
                    <a:pt x="29450" y="5911"/>
                  </a:cubicBezTo>
                  <a:cubicBezTo>
                    <a:pt x="28778" y="5465"/>
                    <a:pt x="28081" y="5066"/>
                    <a:pt x="27650" y="4357"/>
                  </a:cubicBezTo>
                  <a:cubicBezTo>
                    <a:pt x="27270" y="3729"/>
                    <a:pt x="27521" y="2929"/>
                    <a:pt x="27630" y="2230"/>
                  </a:cubicBezTo>
                  <a:cubicBezTo>
                    <a:pt x="27801" y="1935"/>
                    <a:pt x="27731" y="1511"/>
                    <a:pt x="27635" y="1215"/>
                  </a:cubicBezTo>
                  <a:cubicBezTo>
                    <a:pt x="27484" y="764"/>
                    <a:pt x="27027" y="382"/>
                    <a:pt x="26673" y="82"/>
                  </a:cubicBezTo>
                  <a:cubicBezTo>
                    <a:pt x="26606" y="25"/>
                    <a:pt x="26532" y="1"/>
                    <a:pt x="26460" y="1"/>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latin typeface="Segoe UI" panose="020B0502040204020203" pitchFamily="34" charset="0"/>
                  <a:ea typeface="+mn-ea"/>
                  <a:cs typeface="+mn-cs"/>
                </a:rPr>
                <a:t>IA</a:t>
              </a:r>
              <a:endParaRPr kumimoji="0" sz="1000" b="0" i="0" u="none" strike="noStrike" kern="1200" cap="none" spc="0" normalizeH="0" baseline="0" noProof="0" dirty="0">
                <a:ln>
                  <a:noFill/>
                </a:ln>
                <a:effectLst/>
                <a:uLnTx/>
                <a:uFillTx/>
                <a:latin typeface="Segoe UI" panose="020B0502040204020203" pitchFamily="34" charset="0"/>
                <a:ea typeface="+mn-ea"/>
                <a:cs typeface="+mn-cs"/>
              </a:endParaRPr>
            </a:p>
          </p:txBody>
        </p:sp>
        <p:sp>
          <p:nvSpPr>
            <p:cNvPr id="219" name="Google Shape;1217;p29">
              <a:extLst>
                <a:ext uri="{FF2B5EF4-FFF2-40B4-BE49-F238E27FC236}">
                  <a16:creationId xmlns:a16="http://schemas.microsoft.com/office/drawing/2014/main" id="{597386C8-637B-4596-9002-23D6869AA75B}"/>
                </a:ext>
              </a:extLst>
            </p:cNvPr>
            <p:cNvSpPr/>
            <p:nvPr/>
          </p:nvSpPr>
          <p:spPr>
            <a:xfrm>
              <a:off x="6305475" y="3322200"/>
              <a:ext cx="700" cy="725"/>
            </a:xfrm>
            <a:custGeom>
              <a:avLst/>
              <a:gdLst/>
              <a:ahLst/>
              <a:cxnLst/>
              <a:rect l="l" t="t" r="r" b="b"/>
              <a:pathLst>
                <a:path w="28" h="29" extrusionOk="0">
                  <a:moveTo>
                    <a:pt x="0" y="1"/>
                  </a:moveTo>
                  <a:lnTo>
                    <a:pt x="12" y="11"/>
                  </a:lnTo>
                  <a:cubicBezTo>
                    <a:pt x="17" y="16"/>
                    <a:pt x="27" y="28"/>
                    <a:pt x="27" y="28"/>
                  </a:cubicBezTo>
                  <a:cubicBezTo>
                    <a:pt x="27" y="16"/>
                    <a:pt x="22" y="11"/>
                    <a:pt x="22" y="6"/>
                  </a:cubicBezTo>
                  <a:cubicBezTo>
                    <a:pt x="12" y="6"/>
                    <a:pt x="7" y="6"/>
                    <a:pt x="0"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0" name="Google Shape;1218;p29">
              <a:extLst>
                <a:ext uri="{FF2B5EF4-FFF2-40B4-BE49-F238E27FC236}">
                  <a16:creationId xmlns:a16="http://schemas.microsoft.com/office/drawing/2014/main" id="{9673B8B4-95FD-347B-39CE-EA62049D204E}"/>
                </a:ext>
              </a:extLst>
            </p:cNvPr>
            <p:cNvSpPr/>
            <p:nvPr/>
          </p:nvSpPr>
          <p:spPr>
            <a:xfrm>
              <a:off x="6318775" y="3335775"/>
              <a:ext cx="25" cy="25"/>
            </a:xfrm>
            <a:custGeom>
              <a:avLst/>
              <a:gdLst/>
              <a:ahLst/>
              <a:cxnLst/>
              <a:rect l="l" t="t" r="r" b="b"/>
              <a:pathLst>
                <a:path w="1" h="1" extrusionOk="0">
                  <a:moveTo>
                    <a:pt x="1" y="1"/>
                  </a:moveTo>
                  <a:lnTo>
                    <a:pt x="1"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1" name="Google Shape;1219;p29">
              <a:extLst>
                <a:ext uri="{FF2B5EF4-FFF2-40B4-BE49-F238E27FC236}">
                  <a16:creationId xmlns:a16="http://schemas.microsoft.com/office/drawing/2014/main" id="{F5730A8E-6FA6-D00E-DAE6-CC45D962AD5B}"/>
                </a:ext>
              </a:extLst>
            </p:cNvPr>
            <p:cNvSpPr/>
            <p:nvPr/>
          </p:nvSpPr>
          <p:spPr>
            <a:xfrm>
              <a:off x="6292050" y="3315625"/>
              <a:ext cx="700" cy="550"/>
            </a:xfrm>
            <a:custGeom>
              <a:avLst/>
              <a:gdLst/>
              <a:ahLst/>
              <a:cxnLst/>
              <a:rect l="l" t="t" r="r" b="b"/>
              <a:pathLst>
                <a:path w="28" h="22" extrusionOk="0">
                  <a:moveTo>
                    <a:pt x="21" y="1"/>
                  </a:moveTo>
                  <a:cubicBezTo>
                    <a:pt x="11" y="1"/>
                    <a:pt x="11" y="1"/>
                    <a:pt x="1" y="6"/>
                  </a:cubicBezTo>
                  <a:lnTo>
                    <a:pt x="28" y="22"/>
                  </a:lnTo>
                  <a:cubicBezTo>
                    <a:pt x="21" y="16"/>
                    <a:pt x="21" y="6"/>
                    <a:pt x="21"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2" name="Google Shape;1220;p29">
              <a:extLst>
                <a:ext uri="{FF2B5EF4-FFF2-40B4-BE49-F238E27FC236}">
                  <a16:creationId xmlns:a16="http://schemas.microsoft.com/office/drawing/2014/main" id="{65F237B0-9DB6-9DE1-B9D2-630CA122039E}"/>
                </a:ext>
              </a:extLst>
            </p:cNvPr>
            <p:cNvSpPr/>
            <p:nvPr/>
          </p:nvSpPr>
          <p:spPr>
            <a:xfrm>
              <a:off x="6272050" y="3302325"/>
              <a:ext cx="575" cy="450"/>
            </a:xfrm>
            <a:custGeom>
              <a:avLst/>
              <a:gdLst/>
              <a:ahLst/>
              <a:cxnLst/>
              <a:rect l="l" t="t" r="r" b="b"/>
              <a:pathLst>
                <a:path w="23" h="18" extrusionOk="0">
                  <a:moveTo>
                    <a:pt x="0" y="0"/>
                  </a:moveTo>
                  <a:lnTo>
                    <a:pt x="22" y="17"/>
                  </a:lnTo>
                  <a:lnTo>
                    <a:pt x="22"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3" name="Google Shape;1221;p29">
              <a:extLst>
                <a:ext uri="{FF2B5EF4-FFF2-40B4-BE49-F238E27FC236}">
                  <a16:creationId xmlns:a16="http://schemas.microsoft.com/office/drawing/2014/main" id="{5EC4A1FE-F64D-D487-1143-01F2978BB67F}"/>
                </a:ext>
              </a:extLst>
            </p:cNvPr>
            <p:cNvSpPr/>
            <p:nvPr/>
          </p:nvSpPr>
          <p:spPr>
            <a:xfrm>
              <a:off x="5771750" y="3222425"/>
              <a:ext cx="450" cy="275"/>
            </a:xfrm>
            <a:custGeom>
              <a:avLst/>
              <a:gdLst/>
              <a:ahLst/>
              <a:cxnLst/>
              <a:rect l="l" t="t" r="r" b="b"/>
              <a:pathLst>
                <a:path w="18" h="11" extrusionOk="0">
                  <a:moveTo>
                    <a:pt x="17" y="0"/>
                  </a:moveTo>
                  <a:cubicBezTo>
                    <a:pt x="6" y="5"/>
                    <a:pt x="0" y="11"/>
                    <a:pt x="0" y="11"/>
                  </a:cubicBezTo>
                  <a:lnTo>
                    <a:pt x="17"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4" name="Google Shape;1222;p29">
              <a:extLst>
                <a:ext uri="{FF2B5EF4-FFF2-40B4-BE49-F238E27FC236}">
                  <a16:creationId xmlns:a16="http://schemas.microsoft.com/office/drawing/2014/main" id="{6C8F56C0-2554-ABA2-9F5D-B585B9C1D9A3}"/>
                </a:ext>
              </a:extLst>
            </p:cNvPr>
            <p:cNvSpPr/>
            <p:nvPr/>
          </p:nvSpPr>
          <p:spPr>
            <a:xfrm>
              <a:off x="6338925" y="3348925"/>
              <a:ext cx="575" cy="575"/>
            </a:xfrm>
            <a:custGeom>
              <a:avLst/>
              <a:gdLst/>
              <a:ahLst/>
              <a:cxnLst/>
              <a:rect l="l" t="t" r="r" b="b"/>
              <a:pathLst>
                <a:path w="23" h="23" extrusionOk="0">
                  <a:moveTo>
                    <a:pt x="0" y="1"/>
                  </a:moveTo>
                  <a:lnTo>
                    <a:pt x="20" y="20"/>
                  </a:lnTo>
                  <a:lnTo>
                    <a:pt x="20" y="20"/>
                  </a:lnTo>
                  <a:cubicBezTo>
                    <a:pt x="16" y="15"/>
                    <a:pt x="15" y="9"/>
                    <a:pt x="11" y="1"/>
                  </a:cubicBezTo>
                  <a:close/>
                  <a:moveTo>
                    <a:pt x="20" y="20"/>
                  </a:moveTo>
                  <a:cubicBezTo>
                    <a:pt x="20" y="21"/>
                    <a:pt x="21" y="22"/>
                    <a:pt x="22" y="23"/>
                  </a:cubicBezTo>
                  <a:lnTo>
                    <a:pt x="20" y="2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5" name="Google Shape;1223;p29">
              <a:extLst>
                <a:ext uri="{FF2B5EF4-FFF2-40B4-BE49-F238E27FC236}">
                  <a16:creationId xmlns:a16="http://schemas.microsoft.com/office/drawing/2014/main" id="{7C9605A1-92E4-4C77-8981-FF99665E026F}"/>
                </a:ext>
              </a:extLst>
            </p:cNvPr>
            <p:cNvSpPr/>
            <p:nvPr/>
          </p:nvSpPr>
          <p:spPr>
            <a:xfrm>
              <a:off x="6225425" y="3268900"/>
              <a:ext cx="450" cy="550"/>
            </a:xfrm>
            <a:custGeom>
              <a:avLst/>
              <a:gdLst/>
              <a:ahLst/>
              <a:cxnLst/>
              <a:rect l="l" t="t" r="r" b="b"/>
              <a:pathLst>
                <a:path w="18" h="22" extrusionOk="0">
                  <a:moveTo>
                    <a:pt x="18" y="0"/>
                  </a:moveTo>
                  <a:cubicBezTo>
                    <a:pt x="11" y="6"/>
                    <a:pt x="6" y="6"/>
                    <a:pt x="1" y="6"/>
                  </a:cubicBezTo>
                  <a:lnTo>
                    <a:pt x="18" y="21"/>
                  </a:lnTo>
                  <a:lnTo>
                    <a:pt x="18"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6" name="Google Shape;1224;p29">
              <a:extLst>
                <a:ext uri="{FF2B5EF4-FFF2-40B4-BE49-F238E27FC236}">
                  <a16:creationId xmlns:a16="http://schemas.microsoft.com/office/drawing/2014/main" id="{38ACD720-577C-1569-6606-E4C571AA55D0}"/>
                </a:ext>
              </a:extLst>
            </p:cNvPr>
            <p:cNvSpPr/>
            <p:nvPr/>
          </p:nvSpPr>
          <p:spPr>
            <a:xfrm>
              <a:off x="6292050" y="3315775"/>
              <a:ext cx="25" cy="25"/>
            </a:xfrm>
            <a:custGeom>
              <a:avLst/>
              <a:gdLst/>
              <a:ahLst/>
              <a:cxnLst/>
              <a:rect l="l" t="t" r="r" b="b"/>
              <a:pathLst>
                <a:path w="1" h="1" extrusionOk="0">
                  <a:moveTo>
                    <a:pt x="1" y="0"/>
                  </a:moveTo>
                  <a:lnTo>
                    <a:pt x="1"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7" name="Google Shape;1225;p29">
              <a:extLst>
                <a:ext uri="{FF2B5EF4-FFF2-40B4-BE49-F238E27FC236}">
                  <a16:creationId xmlns:a16="http://schemas.microsoft.com/office/drawing/2014/main" id="{6800BD32-1194-DB85-AF15-6DB83DEEEC75}"/>
                </a:ext>
              </a:extLst>
            </p:cNvPr>
            <p:cNvSpPr/>
            <p:nvPr/>
          </p:nvSpPr>
          <p:spPr>
            <a:xfrm>
              <a:off x="6225425" y="3269025"/>
              <a:ext cx="25" cy="25"/>
            </a:xfrm>
            <a:custGeom>
              <a:avLst/>
              <a:gdLst/>
              <a:ahLst/>
              <a:cxnLst/>
              <a:rect l="l" t="t" r="r" b="b"/>
              <a:pathLst>
                <a:path w="1" h="1" extrusionOk="0">
                  <a:moveTo>
                    <a:pt x="1" y="1"/>
                  </a:moveTo>
                  <a:lnTo>
                    <a:pt x="1"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8" name="Google Shape;1226;p29">
              <a:extLst>
                <a:ext uri="{FF2B5EF4-FFF2-40B4-BE49-F238E27FC236}">
                  <a16:creationId xmlns:a16="http://schemas.microsoft.com/office/drawing/2014/main" id="{14FCCD74-6F42-8E2E-068A-4A05AF88EC1B}"/>
                </a:ext>
              </a:extLst>
            </p:cNvPr>
            <p:cNvSpPr/>
            <p:nvPr/>
          </p:nvSpPr>
          <p:spPr>
            <a:xfrm>
              <a:off x="6212000" y="3255450"/>
              <a:ext cx="700" cy="700"/>
            </a:xfrm>
            <a:custGeom>
              <a:avLst/>
              <a:gdLst/>
              <a:ahLst/>
              <a:cxnLst/>
              <a:rect l="l" t="t" r="r" b="b"/>
              <a:pathLst>
                <a:path w="28" h="28" extrusionOk="0">
                  <a:moveTo>
                    <a:pt x="0" y="1"/>
                  </a:moveTo>
                  <a:lnTo>
                    <a:pt x="12" y="11"/>
                  </a:lnTo>
                  <a:cubicBezTo>
                    <a:pt x="22" y="18"/>
                    <a:pt x="27" y="28"/>
                    <a:pt x="27" y="28"/>
                  </a:cubicBezTo>
                  <a:cubicBezTo>
                    <a:pt x="27" y="18"/>
                    <a:pt x="22" y="11"/>
                    <a:pt x="22" y="6"/>
                  </a:cubicBezTo>
                  <a:cubicBezTo>
                    <a:pt x="17" y="6"/>
                    <a:pt x="7" y="6"/>
                    <a:pt x="0"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29" name="Google Shape;1227;p29">
              <a:extLst>
                <a:ext uri="{FF2B5EF4-FFF2-40B4-BE49-F238E27FC236}">
                  <a16:creationId xmlns:a16="http://schemas.microsoft.com/office/drawing/2014/main" id="{99AC6287-6029-C6A8-35FD-400CED000F45}"/>
                </a:ext>
              </a:extLst>
            </p:cNvPr>
            <p:cNvSpPr/>
            <p:nvPr/>
          </p:nvSpPr>
          <p:spPr>
            <a:xfrm>
              <a:off x="6178700" y="3235575"/>
              <a:ext cx="25" cy="25"/>
            </a:xfrm>
            <a:custGeom>
              <a:avLst/>
              <a:gdLst/>
              <a:ahLst/>
              <a:cxnLst/>
              <a:rect l="l" t="t" r="r" b="b"/>
              <a:pathLst>
                <a:path w="1" h="1" extrusionOk="0">
                  <a:moveTo>
                    <a:pt x="0" y="0"/>
                  </a:moveTo>
                  <a:lnTo>
                    <a:pt x="0"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0" name="Google Shape;1228;p29">
              <a:extLst>
                <a:ext uri="{FF2B5EF4-FFF2-40B4-BE49-F238E27FC236}">
                  <a16:creationId xmlns:a16="http://schemas.microsoft.com/office/drawing/2014/main" id="{1EF511E5-1620-D2FE-016E-044B45E24801}"/>
                </a:ext>
              </a:extLst>
            </p:cNvPr>
            <p:cNvSpPr/>
            <p:nvPr/>
          </p:nvSpPr>
          <p:spPr>
            <a:xfrm>
              <a:off x="6245450" y="3282300"/>
              <a:ext cx="25" cy="25"/>
            </a:xfrm>
            <a:custGeom>
              <a:avLst/>
              <a:gdLst/>
              <a:ahLst/>
              <a:cxnLst/>
              <a:rect l="l" t="t" r="r" b="b"/>
              <a:pathLst>
                <a:path w="1" h="1" extrusionOk="0">
                  <a:moveTo>
                    <a:pt x="0" y="1"/>
                  </a:moveTo>
                  <a:lnTo>
                    <a:pt x="0"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1" name="Google Shape;1229;p29">
              <a:extLst>
                <a:ext uri="{FF2B5EF4-FFF2-40B4-BE49-F238E27FC236}">
                  <a16:creationId xmlns:a16="http://schemas.microsoft.com/office/drawing/2014/main" id="{5960534E-6244-96B5-CAFB-63F77994AFB0}"/>
                </a:ext>
              </a:extLst>
            </p:cNvPr>
            <p:cNvSpPr/>
            <p:nvPr/>
          </p:nvSpPr>
          <p:spPr>
            <a:xfrm>
              <a:off x="6258725" y="3288925"/>
              <a:ext cx="700" cy="525"/>
            </a:xfrm>
            <a:custGeom>
              <a:avLst/>
              <a:gdLst/>
              <a:ahLst/>
              <a:cxnLst/>
              <a:rect l="l" t="t" r="r" b="b"/>
              <a:pathLst>
                <a:path w="28" h="21" extrusionOk="0">
                  <a:moveTo>
                    <a:pt x="1" y="0"/>
                  </a:moveTo>
                  <a:lnTo>
                    <a:pt x="28" y="21"/>
                  </a:lnTo>
                  <a:cubicBezTo>
                    <a:pt x="28" y="16"/>
                    <a:pt x="23" y="10"/>
                    <a:pt x="23" y="5"/>
                  </a:cubicBezTo>
                  <a:cubicBezTo>
                    <a:pt x="17" y="0"/>
                    <a:pt x="7" y="0"/>
                    <a:pt x="1"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2" name="Google Shape;1230;p29">
              <a:extLst>
                <a:ext uri="{FF2B5EF4-FFF2-40B4-BE49-F238E27FC236}">
                  <a16:creationId xmlns:a16="http://schemas.microsoft.com/office/drawing/2014/main" id="{91F6E6B5-6488-7A13-4A54-5CB0252B2B77}"/>
                </a:ext>
              </a:extLst>
            </p:cNvPr>
            <p:cNvSpPr/>
            <p:nvPr/>
          </p:nvSpPr>
          <p:spPr>
            <a:xfrm>
              <a:off x="6245450" y="3282175"/>
              <a:ext cx="575" cy="700"/>
            </a:xfrm>
            <a:custGeom>
              <a:avLst/>
              <a:gdLst/>
              <a:ahLst/>
              <a:cxnLst/>
              <a:rect l="l" t="t" r="r" b="b"/>
              <a:pathLst>
                <a:path w="23" h="28" extrusionOk="0">
                  <a:moveTo>
                    <a:pt x="16" y="1"/>
                  </a:moveTo>
                  <a:cubicBezTo>
                    <a:pt x="11" y="6"/>
                    <a:pt x="6" y="6"/>
                    <a:pt x="0" y="6"/>
                  </a:cubicBezTo>
                  <a:lnTo>
                    <a:pt x="11" y="17"/>
                  </a:lnTo>
                  <a:lnTo>
                    <a:pt x="22" y="28"/>
                  </a:lnTo>
                  <a:cubicBezTo>
                    <a:pt x="22" y="17"/>
                    <a:pt x="16" y="12"/>
                    <a:pt x="16"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3" name="Google Shape;1231;p29">
              <a:extLst>
                <a:ext uri="{FF2B5EF4-FFF2-40B4-BE49-F238E27FC236}">
                  <a16:creationId xmlns:a16="http://schemas.microsoft.com/office/drawing/2014/main" id="{B64749E0-D632-E616-FA53-0B48C60C52FA}"/>
                </a:ext>
              </a:extLst>
            </p:cNvPr>
            <p:cNvSpPr/>
            <p:nvPr/>
          </p:nvSpPr>
          <p:spPr>
            <a:xfrm>
              <a:off x="6272050" y="3302325"/>
              <a:ext cx="25" cy="25"/>
            </a:xfrm>
            <a:custGeom>
              <a:avLst/>
              <a:gdLst/>
              <a:ahLst/>
              <a:cxnLst/>
              <a:rect l="l" t="t" r="r" b="b"/>
              <a:pathLst>
                <a:path w="1" h="1" extrusionOk="0">
                  <a:moveTo>
                    <a:pt x="0" y="0"/>
                  </a:moveTo>
                  <a:lnTo>
                    <a:pt x="0"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4" name="Google Shape;1232;p29">
              <a:extLst>
                <a:ext uri="{FF2B5EF4-FFF2-40B4-BE49-F238E27FC236}">
                  <a16:creationId xmlns:a16="http://schemas.microsoft.com/office/drawing/2014/main" id="{E0373E3D-9281-3641-58AF-3586A96D0ED2}"/>
                </a:ext>
              </a:extLst>
            </p:cNvPr>
            <p:cNvSpPr/>
            <p:nvPr/>
          </p:nvSpPr>
          <p:spPr>
            <a:xfrm>
              <a:off x="6318775" y="3335650"/>
              <a:ext cx="575" cy="550"/>
            </a:xfrm>
            <a:custGeom>
              <a:avLst/>
              <a:gdLst/>
              <a:ahLst/>
              <a:cxnLst/>
              <a:rect l="l" t="t" r="r" b="b"/>
              <a:pathLst>
                <a:path w="23" h="22" extrusionOk="0">
                  <a:moveTo>
                    <a:pt x="23" y="1"/>
                  </a:moveTo>
                  <a:cubicBezTo>
                    <a:pt x="19" y="3"/>
                    <a:pt x="16" y="3"/>
                    <a:pt x="13" y="3"/>
                  </a:cubicBezTo>
                  <a:cubicBezTo>
                    <a:pt x="10" y="3"/>
                    <a:pt x="6" y="3"/>
                    <a:pt x="1" y="6"/>
                  </a:cubicBezTo>
                  <a:lnTo>
                    <a:pt x="23" y="21"/>
                  </a:lnTo>
                  <a:lnTo>
                    <a:pt x="23"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5" name="Google Shape;1233;p29">
              <a:extLst>
                <a:ext uri="{FF2B5EF4-FFF2-40B4-BE49-F238E27FC236}">
                  <a16:creationId xmlns:a16="http://schemas.microsoft.com/office/drawing/2014/main" id="{7A946956-770C-FD66-0030-EEE6895CDEF5}"/>
                </a:ext>
              </a:extLst>
            </p:cNvPr>
            <p:cNvSpPr/>
            <p:nvPr/>
          </p:nvSpPr>
          <p:spPr>
            <a:xfrm>
              <a:off x="5991750" y="3215575"/>
              <a:ext cx="575" cy="550"/>
            </a:xfrm>
            <a:custGeom>
              <a:avLst/>
              <a:gdLst/>
              <a:ahLst/>
              <a:cxnLst/>
              <a:rect l="l" t="t" r="r" b="b"/>
              <a:pathLst>
                <a:path w="23" h="22" extrusionOk="0">
                  <a:moveTo>
                    <a:pt x="0" y="1"/>
                  </a:moveTo>
                  <a:lnTo>
                    <a:pt x="22" y="22"/>
                  </a:lnTo>
                  <a:cubicBezTo>
                    <a:pt x="17" y="11"/>
                    <a:pt x="17" y="6"/>
                    <a:pt x="10"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6" name="Google Shape;1234;p29">
              <a:extLst>
                <a:ext uri="{FF2B5EF4-FFF2-40B4-BE49-F238E27FC236}">
                  <a16:creationId xmlns:a16="http://schemas.microsoft.com/office/drawing/2014/main" id="{57937A70-5696-B37B-CDB8-C663D3086823}"/>
                </a:ext>
              </a:extLst>
            </p:cNvPr>
            <p:cNvSpPr/>
            <p:nvPr/>
          </p:nvSpPr>
          <p:spPr>
            <a:xfrm>
              <a:off x="6005175" y="3222025"/>
              <a:ext cx="700" cy="675"/>
            </a:xfrm>
            <a:custGeom>
              <a:avLst/>
              <a:gdLst/>
              <a:ahLst/>
              <a:cxnLst/>
              <a:rect l="l" t="t" r="r" b="b"/>
              <a:pathLst>
                <a:path w="28" h="27" extrusionOk="0">
                  <a:moveTo>
                    <a:pt x="1" y="1"/>
                  </a:moveTo>
                  <a:lnTo>
                    <a:pt x="28" y="27"/>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7" name="Google Shape;1235;p29">
              <a:extLst>
                <a:ext uri="{FF2B5EF4-FFF2-40B4-BE49-F238E27FC236}">
                  <a16:creationId xmlns:a16="http://schemas.microsoft.com/office/drawing/2014/main" id="{F6E63118-85D0-3641-4C36-ACDD6C54DAA6}"/>
                </a:ext>
              </a:extLst>
            </p:cNvPr>
            <p:cNvSpPr/>
            <p:nvPr/>
          </p:nvSpPr>
          <p:spPr>
            <a:xfrm>
              <a:off x="5991750" y="3215575"/>
              <a:ext cx="25" cy="25"/>
            </a:xfrm>
            <a:custGeom>
              <a:avLst/>
              <a:gdLst/>
              <a:ahLst/>
              <a:cxnLst/>
              <a:rect l="l" t="t" r="r" b="b"/>
              <a:pathLst>
                <a:path w="1" h="1" extrusionOk="0">
                  <a:moveTo>
                    <a:pt x="0" y="1"/>
                  </a:moveTo>
                  <a:lnTo>
                    <a:pt x="0"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8" name="Google Shape;1236;p29">
              <a:extLst>
                <a:ext uri="{FF2B5EF4-FFF2-40B4-BE49-F238E27FC236}">
                  <a16:creationId xmlns:a16="http://schemas.microsoft.com/office/drawing/2014/main" id="{A0FF6FB9-4D6E-DCBC-023F-A06A47FA4737}"/>
                </a:ext>
              </a:extLst>
            </p:cNvPr>
            <p:cNvSpPr/>
            <p:nvPr/>
          </p:nvSpPr>
          <p:spPr>
            <a:xfrm>
              <a:off x="6178700" y="3235575"/>
              <a:ext cx="575" cy="450"/>
            </a:xfrm>
            <a:custGeom>
              <a:avLst/>
              <a:gdLst/>
              <a:ahLst/>
              <a:cxnLst/>
              <a:rect l="l" t="t" r="r" b="b"/>
              <a:pathLst>
                <a:path w="23" h="18" extrusionOk="0">
                  <a:moveTo>
                    <a:pt x="0" y="0"/>
                  </a:moveTo>
                  <a:lnTo>
                    <a:pt x="22" y="17"/>
                  </a:lnTo>
                  <a:cubicBezTo>
                    <a:pt x="17" y="12"/>
                    <a:pt x="17" y="7"/>
                    <a:pt x="11"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39" name="Google Shape;1237;p29">
              <a:extLst>
                <a:ext uri="{FF2B5EF4-FFF2-40B4-BE49-F238E27FC236}">
                  <a16:creationId xmlns:a16="http://schemas.microsoft.com/office/drawing/2014/main" id="{71876A3A-DCA6-761D-4B28-BAC10DB8A3F8}"/>
                </a:ext>
              </a:extLst>
            </p:cNvPr>
            <p:cNvSpPr/>
            <p:nvPr/>
          </p:nvSpPr>
          <p:spPr>
            <a:xfrm>
              <a:off x="6198700" y="3248875"/>
              <a:ext cx="575" cy="575"/>
            </a:xfrm>
            <a:custGeom>
              <a:avLst/>
              <a:gdLst/>
              <a:ahLst/>
              <a:cxnLst/>
              <a:rect l="l" t="t" r="r" b="b"/>
              <a:pathLst>
                <a:path w="23" h="23" extrusionOk="0">
                  <a:moveTo>
                    <a:pt x="16" y="1"/>
                  </a:moveTo>
                  <a:cubicBezTo>
                    <a:pt x="11" y="1"/>
                    <a:pt x="6" y="1"/>
                    <a:pt x="1" y="6"/>
                  </a:cubicBezTo>
                  <a:lnTo>
                    <a:pt x="23" y="23"/>
                  </a:lnTo>
                  <a:cubicBezTo>
                    <a:pt x="23" y="16"/>
                    <a:pt x="16" y="6"/>
                    <a:pt x="16"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0" name="Google Shape;1238;p29">
              <a:extLst>
                <a:ext uri="{FF2B5EF4-FFF2-40B4-BE49-F238E27FC236}">
                  <a16:creationId xmlns:a16="http://schemas.microsoft.com/office/drawing/2014/main" id="{1FFC316D-BA9D-799A-E87E-76733DE7AF62}"/>
                </a:ext>
              </a:extLst>
            </p:cNvPr>
            <p:cNvSpPr/>
            <p:nvPr/>
          </p:nvSpPr>
          <p:spPr>
            <a:xfrm>
              <a:off x="5751850" y="3235575"/>
              <a:ext cx="575" cy="575"/>
            </a:xfrm>
            <a:custGeom>
              <a:avLst/>
              <a:gdLst/>
              <a:ahLst/>
              <a:cxnLst/>
              <a:rect l="l" t="t" r="r" b="b"/>
              <a:pathLst>
                <a:path w="23" h="23" extrusionOk="0">
                  <a:moveTo>
                    <a:pt x="7" y="0"/>
                  </a:moveTo>
                  <a:cubicBezTo>
                    <a:pt x="7" y="7"/>
                    <a:pt x="7" y="12"/>
                    <a:pt x="1" y="22"/>
                  </a:cubicBezTo>
                  <a:lnTo>
                    <a:pt x="23" y="7"/>
                  </a:lnTo>
                  <a:cubicBezTo>
                    <a:pt x="18" y="0"/>
                    <a:pt x="13" y="0"/>
                    <a:pt x="7"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1" name="Google Shape;1239;p29">
              <a:extLst>
                <a:ext uri="{FF2B5EF4-FFF2-40B4-BE49-F238E27FC236}">
                  <a16:creationId xmlns:a16="http://schemas.microsoft.com/office/drawing/2014/main" id="{DA0676A8-8295-700C-700A-B548803C04A9}"/>
                </a:ext>
              </a:extLst>
            </p:cNvPr>
            <p:cNvSpPr/>
            <p:nvPr/>
          </p:nvSpPr>
          <p:spPr>
            <a:xfrm>
              <a:off x="4784725" y="2583250"/>
              <a:ext cx="978725" cy="519675"/>
            </a:xfrm>
            <a:custGeom>
              <a:avLst/>
              <a:gdLst/>
              <a:ahLst/>
              <a:cxnLst/>
              <a:rect l="l" t="t" r="r" b="b"/>
              <a:pathLst>
                <a:path w="39149" h="20787" extrusionOk="0">
                  <a:moveTo>
                    <a:pt x="24939" y="1"/>
                  </a:moveTo>
                  <a:cubicBezTo>
                    <a:pt x="24919" y="1"/>
                    <a:pt x="24898" y="4"/>
                    <a:pt x="24875" y="12"/>
                  </a:cubicBezTo>
                  <a:cubicBezTo>
                    <a:pt x="24832" y="23"/>
                    <a:pt x="24821" y="125"/>
                    <a:pt x="24800" y="195"/>
                  </a:cubicBezTo>
                  <a:cubicBezTo>
                    <a:pt x="24681" y="210"/>
                    <a:pt x="24574" y="227"/>
                    <a:pt x="24471" y="254"/>
                  </a:cubicBezTo>
                  <a:cubicBezTo>
                    <a:pt x="24384" y="264"/>
                    <a:pt x="24300" y="269"/>
                    <a:pt x="24220" y="269"/>
                  </a:cubicBezTo>
                  <a:cubicBezTo>
                    <a:pt x="23928" y="269"/>
                    <a:pt x="23686" y="201"/>
                    <a:pt x="23483" y="71"/>
                  </a:cubicBezTo>
                  <a:cubicBezTo>
                    <a:pt x="23322" y="178"/>
                    <a:pt x="23182" y="296"/>
                    <a:pt x="23070" y="436"/>
                  </a:cubicBezTo>
                  <a:cubicBezTo>
                    <a:pt x="23027" y="495"/>
                    <a:pt x="22983" y="549"/>
                    <a:pt x="22951" y="614"/>
                  </a:cubicBezTo>
                  <a:cubicBezTo>
                    <a:pt x="22946" y="614"/>
                    <a:pt x="22946" y="614"/>
                    <a:pt x="22946" y="619"/>
                  </a:cubicBezTo>
                  <a:cubicBezTo>
                    <a:pt x="23027" y="1274"/>
                    <a:pt x="23112" y="1930"/>
                    <a:pt x="23193" y="2590"/>
                  </a:cubicBezTo>
                  <a:cubicBezTo>
                    <a:pt x="23090" y="2581"/>
                    <a:pt x="22986" y="2568"/>
                    <a:pt x="22886" y="2568"/>
                  </a:cubicBezTo>
                  <a:cubicBezTo>
                    <a:pt x="22693" y="2568"/>
                    <a:pt x="22519" y="2619"/>
                    <a:pt x="22410" y="2857"/>
                  </a:cubicBezTo>
                  <a:lnTo>
                    <a:pt x="22410" y="2857"/>
                  </a:lnTo>
                  <a:cubicBezTo>
                    <a:pt x="22164" y="3066"/>
                    <a:pt x="21923" y="3280"/>
                    <a:pt x="21678" y="3488"/>
                  </a:cubicBezTo>
                  <a:cubicBezTo>
                    <a:pt x="21495" y="3466"/>
                    <a:pt x="21304" y="3436"/>
                    <a:pt x="21132" y="3436"/>
                  </a:cubicBezTo>
                  <a:cubicBezTo>
                    <a:pt x="21002" y="3436"/>
                    <a:pt x="20883" y="3453"/>
                    <a:pt x="20786" y="3504"/>
                  </a:cubicBezTo>
                  <a:cubicBezTo>
                    <a:pt x="20776" y="3509"/>
                    <a:pt x="20764" y="3515"/>
                    <a:pt x="20759" y="3520"/>
                  </a:cubicBezTo>
                  <a:cubicBezTo>
                    <a:pt x="20744" y="3530"/>
                    <a:pt x="20727" y="3537"/>
                    <a:pt x="20717" y="3547"/>
                  </a:cubicBezTo>
                  <a:cubicBezTo>
                    <a:pt x="20625" y="3622"/>
                    <a:pt x="20566" y="3735"/>
                    <a:pt x="20539" y="3907"/>
                  </a:cubicBezTo>
                  <a:cubicBezTo>
                    <a:pt x="20528" y="3993"/>
                    <a:pt x="20523" y="4095"/>
                    <a:pt x="20534" y="4213"/>
                  </a:cubicBezTo>
                  <a:cubicBezTo>
                    <a:pt x="20561" y="4616"/>
                    <a:pt x="20238" y="4826"/>
                    <a:pt x="20040" y="5110"/>
                  </a:cubicBezTo>
                  <a:cubicBezTo>
                    <a:pt x="19363" y="6071"/>
                    <a:pt x="18443" y="6829"/>
                    <a:pt x="18031" y="8017"/>
                  </a:cubicBezTo>
                  <a:cubicBezTo>
                    <a:pt x="17864" y="8495"/>
                    <a:pt x="17513" y="8809"/>
                    <a:pt x="17100" y="8809"/>
                  </a:cubicBezTo>
                  <a:cubicBezTo>
                    <a:pt x="16836" y="8809"/>
                    <a:pt x="16546" y="8680"/>
                    <a:pt x="16263" y="8382"/>
                  </a:cubicBezTo>
                  <a:cubicBezTo>
                    <a:pt x="16024" y="8128"/>
                    <a:pt x="15848" y="8019"/>
                    <a:pt x="15705" y="8019"/>
                  </a:cubicBezTo>
                  <a:cubicBezTo>
                    <a:pt x="15486" y="8019"/>
                    <a:pt x="15341" y="8270"/>
                    <a:pt x="15156" y="8645"/>
                  </a:cubicBezTo>
                  <a:cubicBezTo>
                    <a:pt x="14925" y="9120"/>
                    <a:pt x="14763" y="9813"/>
                    <a:pt x="14180" y="9813"/>
                  </a:cubicBezTo>
                  <a:cubicBezTo>
                    <a:pt x="14019" y="9813"/>
                    <a:pt x="13825" y="9760"/>
                    <a:pt x="13588" y="9634"/>
                  </a:cubicBezTo>
                  <a:cubicBezTo>
                    <a:pt x="13396" y="9183"/>
                    <a:pt x="13199" y="9016"/>
                    <a:pt x="13004" y="9016"/>
                  </a:cubicBezTo>
                  <a:cubicBezTo>
                    <a:pt x="12742" y="9016"/>
                    <a:pt x="12484" y="9320"/>
                    <a:pt x="12250" y="9644"/>
                  </a:cubicBezTo>
                  <a:cubicBezTo>
                    <a:pt x="12015" y="9972"/>
                    <a:pt x="12173" y="10611"/>
                    <a:pt x="11549" y="10611"/>
                  </a:cubicBezTo>
                  <a:cubicBezTo>
                    <a:pt x="11517" y="10611"/>
                    <a:pt x="11484" y="10609"/>
                    <a:pt x="11449" y="10606"/>
                  </a:cubicBezTo>
                  <a:cubicBezTo>
                    <a:pt x="10804" y="10132"/>
                    <a:pt x="9972" y="9975"/>
                    <a:pt x="9212" y="9975"/>
                  </a:cubicBezTo>
                  <a:cubicBezTo>
                    <a:pt x="8300" y="9975"/>
                    <a:pt x="7493" y="10202"/>
                    <a:pt x="7238" y="10380"/>
                  </a:cubicBezTo>
                  <a:cubicBezTo>
                    <a:pt x="7201" y="10402"/>
                    <a:pt x="7168" y="10428"/>
                    <a:pt x="7136" y="10450"/>
                  </a:cubicBezTo>
                  <a:cubicBezTo>
                    <a:pt x="7012" y="10547"/>
                    <a:pt x="6936" y="10708"/>
                    <a:pt x="6931" y="10869"/>
                  </a:cubicBezTo>
                  <a:cubicBezTo>
                    <a:pt x="6926" y="10869"/>
                    <a:pt x="6921" y="10874"/>
                    <a:pt x="6916" y="10874"/>
                  </a:cubicBezTo>
                  <a:cubicBezTo>
                    <a:pt x="6921" y="11052"/>
                    <a:pt x="6921" y="11229"/>
                    <a:pt x="6916" y="11407"/>
                  </a:cubicBezTo>
                  <a:cubicBezTo>
                    <a:pt x="6620" y="11481"/>
                    <a:pt x="6582" y="11685"/>
                    <a:pt x="6641" y="11943"/>
                  </a:cubicBezTo>
                  <a:cubicBezTo>
                    <a:pt x="6281" y="12121"/>
                    <a:pt x="6266" y="12304"/>
                    <a:pt x="6646" y="12481"/>
                  </a:cubicBezTo>
                  <a:cubicBezTo>
                    <a:pt x="6690" y="12964"/>
                    <a:pt x="6415" y="13222"/>
                    <a:pt x="5981" y="13259"/>
                  </a:cubicBezTo>
                  <a:cubicBezTo>
                    <a:pt x="4777" y="13368"/>
                    <a:pt x="4342" y="13921"/>
                    <a:pt x="4868" y="15070"/>
                  </a:cubicBezTo>
                  <a:cubicBezTo>
                    <a:pt x="5099" y="15570"/>
                    <a:pt x="4777" y="15875"/>
                    <a:pt x="4519" y="16209"/>
                  </a:cubicBezTo>
                  <a:lnTo>
                    <a:pt x="4256" y="16209"/>
                  </a:lnTo>
                  <a:cubicBezTo>
                    <a:pt x="4167" y="16012"/>
                    <a:pt x="4025" y="15930"/>
                    <a:pt x="3840" y="15930"/>
                  </a:cubicBezTo>
                  <a:cubicBezTo>
                    <a:pt x="3803" y="15930"/>
                    <a:pt x="3765" y="15934"/>
                    <a:pt x="3725" y="15940"/>
                  </a:cubicBezTo>
                  <a:cubicBezTo>
                    <a:pt x="3669" y="15716"/>
                    <a:pt x="3536" y="15650"/>
                    <a:pt x="3369" y="15650"/>
                  </a:cubicBezTo>
                  <a:cubicBezTo>
                    <a:pt x="3309" y="15650"/>
                    <a:pt x="3244" y="15659"/>
                    <a:pt x="3177" y="15672"/>
                  </a:cubicBezTo>
                  <a:cubicBezTo>
                    <a:pt x="2823" y="15339"/>
                    <a:pt x="2492" y="15166"/>
                    <a:pt x="2199" y="15166"/>
                  </a:cubicBezTo>
                  <a:cubicBezTo>
                    <a:pt x="1818" y="15166"/>
                    <a:pt x="1499" y="15455"/>
                    <a:pt x="1270" y="16064"/>
                  </a:cubicBezTo>
                  <a:cubicBezTo>
                    <a:pt x="1183" y="16301"/>
                    <a:pt x="1076" y="16477"/>
                    <a:pt x="941" y="16596"/>
                  </a:cubicBezTo>
                  <a:cubicBezTo>
                    <a:pt x="952" y="16784"/>
                    <a:pt x="985" y="16978"/>
                    <a:pt x="1022" y="17171"/>
                  </a:cubicBezTo>
                  <a:cubicBezTo>
                    <a:pt x="1027" y="17192"/>
                    <a:pt x="1027" y="17209"/>
                    <a:pt x="1032" y="17229"/>
                  </a:cubicBezTo>
                  <a:cubicBezTo>
                    <a:pt x="1127" y="17212"/>
                    <a:pt x="1221" y="17197"/>
                    <a:pt x="1307" y="17197"/>
                  </a:cubicBezTo>
                  <a:cubicBezTo>
                    <a:pt x="1407" y="17197"/>
                    <a:pt x="1498" y="17217"/>
                    <a:pt x="1570" y="17278"/>
                  </a:cubicBezTo>
                  <a:cubicBezTo>
                    <a:pt x="1528" y="18299"/>
                    <a:pt x="1714" y="19411"/>
                    <a:pt x="501" y="19964"/>
                  </a:cubicBezTo>
                  <a:lnTo>
                    <a:pt x="522" y="19943"/>
                  </a:lnTo>
                  <a:cubicBezTo>
                    <a:pt x="508" y="19943"/>
                    <a:pt x="494" y="19943"/>
                    <a:pt x="481" y="19943"/>
                  </a:cubicBezTo>
                  <a:cubicBezTo>
                    <a:pt x="267" y="19943"/>
                    <a:pt x="113" y="19991"/>
                    <a:pt x="1" y="20072"/>
                  </a:cubicBezTo>
                  <a:cubicBezTo>
                    <a:pt x="55" y="20335"/>
                    <a:pt x="157" y="20512"/>
                    <a:pt x="276" y="20636"/>
                  </a:cubicBezTo>
                  <a:cubicBezTo>
                    <a:pt x="335" y="20700"/>
                    <a:pt x="405" y="20749"/>
                    <a:pt x="469" y="20786"/>
                  </a:cubicBezTo>
                  <a:cubicBezTo>
                    <a:pt x="2133" y="20324"/>
                    <a:pt x="3886" y="20469"/>
                    <a:pt x="5572" y="20201"/>
                  </a:cubicBezTo>
                  <a:cubicBezTo>
                    <a:pt x="5644" y="20189"/>
                    <a:pt x="5719" y="20185"/>
                    <a:pt x="5795" y="20185"/>
                  </a:cubicBezTo>
                  <a:cubicBezTo>
                    <a:pt x="5993" y="20185"/>
                    <a:pt x="6200" y="20214"/>
                    <a:pt x="6399" y="20214"/>
                  </a:cubicBezTo>
                  <a:cubicBezTo>
                    <a:pt x="6719" y="20214"/>
                    <a:pt x="7018" y="20139"/>
                    <a:pt x="7226" y="19750"/>
                  </a:cubicBezTo>
                  <a:lnTo>
                    <a:pt x="7233" y="19750"/>
                  </a:lnTo>
                  <a:cubicBezTo>
                    <a:pt x="7716" y="19470"/>
                    <a:pt x="8151" y="19019"/>
                    <a:pt x="8709" y="18981"/>
                  </a:cubicBezTo>
                  <a:cubicBezTo>
                    <a:pt x="8733" y="18980"/>
                    <a:pt x="8757" y="18979"/>
                    <a:pt x="8782" y="18979"/>
                  </a:cubicBezTo>
                  <a:cubicBezTo>
                    <a:pt x="8948" y="18979"/>
                    <a:pt x="9125" y="19015"/>
                    <a:pt x="9322" y="19105"/>
                  </a:cubicBezTo>
                  <a:cubicBezTo>
                    <a:pt x="10836" y="18938"/>
                    <a:pt x="12378" y="18992"/>
                    <a:pt x="13878" y="18610"/>
                  </a:cubicBezTo>
                  <a:cubicBezTo>
                    <a:pt x="15205" y="18508"/>
                    <a:pt x="16531" y="18406"/>
                    <a:pt x="17858" y="18304"/>
                  </a:cubicBezTo>
                  <a:cubicBezTo>
                    <a:pt x="21130" y="18009"/>
                    <a:pt x="24396" y="17735"/>
                    <a:pt x="27662" y="17423"/>
                  </a:cubicBezTo>
                  <a:cubicBezTo>
                    <a:pt x="29070" y="17288"/>
                    <a:pt x="30466" y="17080"/>
                    <a:pt x="31864" y="16859"/>
                  </a:cubicBezTo>
                  <a:cubicBezTo>
                    <a:pt x="32207" y="16746"/>
                    <a:pt x="32546" y="16617"/>
                    <a:pt x="32879" y="16477"/>
                  </a:cubicBezTo>
                  <a:cubicBezTo>
                    <a:pt x="32826" y="16408"/>
                    <a:pt x="32772" y="16333"/>
                    <a:pt x="32734" y="16242"/>
                  </a:cubicBezTo>
                  <a:cubicBezTo>
                    <a:pt x="32691" y="16150"/>
                    <a:pt x="32675" y="16064"/>
                    <a:pt x="32680" y="15979"/>
                  </a:cubicBezTo>
                  <a:cubicBezTo>
                    <a:pt x="32772" y="15940"/>
                    <a:pt x="32863" y="15908"/>
                    <a:pt x="32955" y="15865"/>
                  </a:cubicBezTo>
                  <a:cubicBezTo>
                    <a:pt x="33255" y="15478"/>
                    <a:pt x="33647" y="15220"/>
                    <a:pt x="34056" y="14941"/>
                  </a:cubicBezTo>
                  <a:cubicBezTo>
                    <a:pt x="34555" y="14598"/>
                    <a:pt x="34969" y="14189"/>
                    <a:pt x="35378" y="13754"/>
                  </a:cubicBezTo>
                  <a:lnTo>
                    <a:pt x="35378" y="13743"/>
                  </a:lnTo>
                  <a:cubicBezTo>
                    <a:pt x="35673" y="12798"/>
                    <a:pt x="36414" y="12126"/>
                    <a:pt x="37161" y="11492"/>
                  </a:cubicBezTo>
                  <a:cubicBezTo>
                    <a:pt x="37166" y="11487"/>
                    <a:pt x="37171" y="11487"/>
                    <a:pt x="37177" y="11481"/>
                  </a:cubicBezTo>
                  <a:cubicBezTo>
                    <a:pt x="37317" y="11363"/>
                    <a:pt x="37451" y="11251"/>
                    <a:pt x="37590" y="11132"/>
                  </a:cubicBezTo>
                  <a:cubicBezTo>
                    <a:pt x="37617" y="11111"/>
                    <a:pt x="37644" y="11084"/>
                    <a:pt x="37671" y="11057"/>
                  </a:cubicBezTo>
                  <a:cubicBezTo>
                    <a:pt x="37736" y="10955"/>
                    <a:pt x="37805" y="10869"/>
                    <a:pt x="37907" y="10837"/>
                  </a:cubicBezTo>
                  <a:cubicBezTo>
                    <a:pt x="38197" y="10547"/>
                    <a:pt x="38467" y="10235"/>
                    <a:pt x="38783" y="9972"/>
                  </a:cubicBezTo>
                  <a:cubicBezTo>
                    <a:pt x="38944" y="9832"/>
                    <a:pt x="39079" y="9649"/>
                    <a:pt x="39122" y="9467"/>
                  </a:cubicBezTo>
                  <a:cubicBezTo>
                    <a:pt x="39149" y="9354"/>
                    <a:pt x="39137" y="9247"/>
                    <a:pt x="39079" y="9145"/>
                  </a:cubicBezTo>
                  <a:cubicBezTo>
                    <a:pt x="39041" y="9096"/>
                    <a:pt x="38993" y="9048"/>
                    <a:pt x="38939" y="8999"/>
                  </a:cubicBezTo>
                  <a:lnTo>
                    <a:pt x="38939" y="8999"/>
                  </a:lnTo>
                  <a:lnTo>
                    <a:pt x="38966" y="9021"/>
                  </a:lnTo>
                  <a:cubicBezTo>
                    <a:pt x="38961" y="9010"/>
                    <a:pt x="38955" y="9005"/>
                    <a:pt x="38950" y="8994"/>
                  </a:cubicBezTo>
                  <a:cubicBezTo>
                    <a:pt x="38928" y="8972"/>
                    <a:pt x="38906" y="8957"/>
                    <a:pt x="38879" y="8940"/>
                  </a:cubicBezTo>
                  <a:cubicBezTo>
                    <a:pt x="38698" y="8823"/>
                    <a:pt x="38509" y="8720"/>
                    <a:pt x="38321" y="8623"/>
                  </a:cubicBezTo>
                  <a:cubicBezTo>
                    <a:pt x="38202" y="8565"/>
                    <a:pt x="38090" y="8500"/>
                    <a:pt x="37983" y="8436"/>
                  </a:cubicBezTo>
                  <a:cubicBezTo>
                    <a:pt x="37848" y="8387"/>
                    <a:pt x="37725" y="8323"/>
                    <a:pt x="37629" y="8221"/>
                  </a:cubicBezTo>
                  <a:cubicBezTo>
                    <a:pt x="37451" y="8139"/>
                    <a:pt x="37339" y="8017"/>
                    <a:pt x="37252" y="7866"/>
                  </a:cubicBezTo>
                  <a:cubicBezTo>
                    <a:pt x="36156" y="6840"/>
                    <a:pt x="35452" y="5260"/>
                    <a:pt x="35635" y="3815"/>
                  </a:cubicBezTo>
                  <a:cubicBezTo>
                    <a:pt x="35619" y="3762"/>
                    <a:pt x="35592" y="3708"/>
                    <a:pt x="35566" y="3654"/>
                  </a:cubicBezTo>
                  <a:cubicBezTo>
                    <a:pt x="35603" y="3542"/>
                    <a:pt x="35646" y="3428"/>
                    <a:pt x="35710" y="3321"/>
                  </a:cubicBezTo>
                  <a:lnTo>
                    <a:pt x="35710" y="3321"/>
                  </a:lnTo>
                  <a:cubicBezTo>
                    <a:pt x="35613" y="3364"/>
                    <a:pt x="35517" y="3401"/>
                    <a:pt x="35415" y="3413"/>
                  </a:cubicBezTo>
                  <a:cubicBezTo>
                    <a:pt x="35076" y="3150"/>
                    <a:pt x="34701" y="2924"/>
                    <a:pt x="34378" y="2644"/>
                  </a:cubicBezTo>
                  <a:cubicBezTo>
                    <a:pt x="34270" y="2553"/>
                    <a:pt x="34168" y="2456"/>
                    <a:pt x="34077" y="2349"/>
                  </a:cubicBezTo>
                  <a:cubicBezTo>
                    <a:pt x="33788" y="2013"/>
                    <a:pt x="33564" y="1875"/>
                    <a:pt x="33302" y="1875"/>
                  </a:cubicBezTo>
                  <a:cubicBezTo>
                    <a:pt x="33062" y="1875"/>
                    <a:pt x="32789" y="1991"/>
                    <a:pt x="32407" y="2176"/>
                  </a:cubicBezTo>
                  <a:cubicBezTo>
                    <a:pt x="31696" y="2520"/>
                    <a:pt x="30889" y="2886"/>
                    <a:pt x="30056" y="2886"/>
                  </a:cubicBezTo>
                  <a:cubicBezTo>
                    <a:pt x="29559" y="2886"/>
                    <a:pt x="29054" y="2756"/>
                    <a:pt x="28554" y="2414"/>
                  </a:cubicBezTo>
                  <a:cubicBezTo>
                    <a:pt x="27781" y="1876"/>
                    <a:pt x="26556" y="2112"/>
                    <a:pt x="26132" y="984"/>
                  </a:cubicBezTo>
                  <a:lnTo>
                    <a:pt x="26132" y="984"/>
                  </a:lnTo>
                  <a:lnTo>
                    <a:pt x="26154" y="1006"/>
                  </a:lnTo>
                  <a:cubicBezTo>
                    <a:pt x="26073" y="821"/>
                    <a:pt x="25971" y="673"/>
                    <a:pt x="25794" y="673"/>
                  </a:cubicBezTo>
                  <a:cubicBezTo>
                    <a:pt x="25744" y="673"/>
                    <a:pt x="25689" y="684"/>
                    <a:pt x="25626" y="710"/>
                  </a:cubicBezTo>
                  <a:cubicBezTo>
                    <a:pt x="25675" y="501"/>
                    <a:pt x="25566" y="451"/>
                    <a:pt x="25405" y="451"/>
                  </a:cubicBezTo>
                  <a:cubicBezTo>
                    <a:pt x="25388" y="451"/>
                    <a:pt x="25371" y="452"/>
                    <a:pt x="25353" y="452"/>
                  </a:cubicBezTo>
                  <a:cubicBezTo>
                    <a:pt x="25368" y="259"/>
                    <a:pt x="25251" y="200"/>
                    <a:pt x="25084" y="189"/>
                  </a:cubicBezTo>
                  <a:cubicBezTo>
                    <a:pt x="25075" y="82"/>
                    <a:pt x="25033" y="1"/>
                    <a:pt x="24939"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KY</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2" name="Google Shape;1240;p29">
              <a:extLst>
                <a:ext uri="{FF2B5EF4-FFF2-40B4-BE49-F238E27FC236}">
                  <a16:creationId xmlns:a16="http://schemas.microsoft.com/office/drawing/2014/main" id="{0AB867EF-7972-33B0-86BD-E37B0B262917}"/>
                </a:ext>
              </a:extLst>
            </p:cNvPr>
            <p:cNvSpPr/>
            <p:nvPr/>
          </p:nvSpPr>
          <p:spPr>
            <a:xfrm>
              <a:off x="6385925" y="2501875"/>
              <a:ext cx="25" cy="25"/>
            </a:xfrm>
            <a:custGeom>
              <a:avLst/>
              <a:gdLst/>
              <a:ahLst/>
              <a:cxnLst/>
              <a:rect l="l" t="t" r="r" b="b"/>
              <a:pathLst>
                <a:path w="1" h="1" extrusionOk="0">
                  <a:moveTo>
                    <a:pt x="0" y="1"/>
                  </a:moveTo>
                  <a:lnTo>
                    <a:pt x="0"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3" name="Google Shape;1241;p29">
              <a:extLst>
                <a:ext uri="{FF2B5EF4-FFF2-40B4-BE49-F238E27FC236}">
                  <a16:creationId xmlns:a16="http://schemas.microsoft.com/office/drawing/2014/main" id="{D5CB099E-F8F1-09EE-6CD2-CC13F83F9389}"/>
                </a:ext>
              </a:extLst>
            </p:cNvPr>
            <p:cNvSpPr/>
            <p:nvPr/>
          </p:nvSpPr>
          <p:spPr>
            <a:xfrm>
              <a:off x="6379350" y="2515150"/>
              <a:ext cx="25" cy="25"/>
            </a:xfrm>
            <a:custGeom>
              <a:avLst/>
              <a:gdLst/>
              <a:ahLst/>
              <a:cxnLst/>
              <a:rect l="l" t="t" r="r" b="b"/>
              <a:pathLst>
                <a:path w="1" h="1" extrusionOk="0">
                  <a:moveTo>
                    <a:pt x="0" y="1"/>
                  </a:moveTo>
                  <a:lnTo>
                    <a:pt x="0"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4" name="Google Shape;1242;p29">
              <a:extLst>
                <a:ext uri="{FF2B5EF4-FFF2-40B4-BE49-F238E27FC236}">
                  <a16:creationId xmlns:a16="http://schemas.microsoft.com/office/drawing/2014/main" id="{81F8F292-5492-A3FE-F4AB-22C74B04E211}"/>
                </a:ext>
              </a:extLst>
            </p:cNvPr>
            <p:cNvSpPr/>
            <p:nvPr/>
          </p:nvSpPr>
          <p:spPr>
            <a:xfrm>
              <a:off x="6392500" y="2487750"/>
              <a:ext cx="700" cy="850"/>
            </a:xfrm>
            <a:custGeom>
              <a:avLst/>
              <a:gdLst/>
              <a:ahLst/>
              <a:cxnLst/>
              <a:rect l="l" t="t" r="r" b="b"/>
              <a:pathLst>
                <a:path w="28" h="34" extrusionOk="0">
                  <a:moveTo>
                    <a:pt x="27" y="1"/>
                  </a:moveTo>
                  <a:cubicBezTo>
                    <a:pt x="17" y="7"/>
                    <a:pt x="12" y="7"/>
                    <a:pt x="0" y="13"/>
                  </a:cubicBezTo>
                  <a:cubicBezTo>
                    <a:pt x="7" y="18"/>
                    <a:pt x="7" y="28"/>
                    <a:pt x="7" y="33"/>
                  </a:cubicBezTo>
                  <a:cubicBezTo>
                    <a:pt x="7" y="33"/>
                    <a:pt x="12" y="23"/>
                    <a:pt x="17" y="18"/>
                  </a:cubicBezTo>
                  <a:lnTo>
                    <a:pt x="27"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5" name="Google Shape;1243;p29">
              <a:extLst>
                <a:ext uri="{FF2B5EF4-FFF2-40B4-BE49-F238E27FC236}">
                  <a16:creationId xmlns:a16="http://schemas.microsoft.com/office/drawing/2014/main" id="{B6381A9E-2AD6-EC9C-FE44-ADBFF9EAD5CF}"/>
                </a:ext>
              </a:extLst>
            </p:cNvPr>
            <p:cNvSpPr/>
            <p:nvPr/>
          </p:nvSpPr>
          <p:spPr>
            <a:xfrm>
              <a:off x="6392650" y="2488575"/>
              <a:ext cx="25" cy="25"/>
            </a:xfrm>
            <a:custGeom>
              <a:avLst/>
              <a:gdLst/>
              <a:ahLst/>
              <a:cxnLst/>
              <a:rect l="l" t="t" r="r" b="b"/>
              <a:pathLst>
                <a:path w="1" h="1" extrusionOk="0">
                  <a:moveTo>
                    <a:pt x="1" y="0"/>
                  </a:moveTo>
                  <a:lnTo>
                    <a:pt x="1"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6" name="Google Shape;1244;p29">
              <a:extLst>
                <a:ext uri="{FF2B5EF4-FFF2-40B4-BE49-F238E27FC236}">
                  <a16:creationId xmlns:a16="http://schemas.microsoft.com/office/drawing/2014/main" id="{331DED67-44C1-2289-4F51-956C8D0F4793}"/>
                </a:ext>
              </a:extLst>
            </p:cNvPr>
            <p:cNvSpPr/>
            <p:nvPr/>
          </p:nvSpPr>
          <p:spPr>
            <a:xfrm>
              <a:off x="6312450" y="2414175"/>
              <a:ext cx="725" cy="575"/>
            </a:xfrm>
            <a:custGeom>
              <a:avLst/>
              <a:gdLst/>
              <a:ahLst/>
              <a:cxnLst/>
              <a:rect l="l" t="t" r="r" b="b"/>
              <a:pathLst>
                <a:path w="29" h="23" extrusionOk="0">
                  <a:moveTo>
                    <a:pt x="1" y="0"/>
                  </a:moveTo>
                  <a:cubicBezTo>
                    <a:pt x="1" y="6"/>
                    <a:pt x="6" y="17"/>
                    <a:pt x="6" y="22"/>
                  </a:cubicBezTo>
                  <a:lnTo>
                    <a:pt x="28" y="22"/>
                  </a:lnTo>
                  <a:lnTo>
                    <a:pt x="1"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7" name="Google Shape;1245;p29">
              <a:extLst>
                <a:ext uri="{FF2B5EF4-FFF2-40B4-BE49-F238E27FC236}">
                  <a16:creationId xmlns:a16="http://schemas.microsoft.com/office/drawing/2014/main" id="{FFAD6AB9-81B7-61DA-12E5-46035BD7F784}"/>
                </a:ext>
              </a:extLst>
            </p:cNvPr>
            <p:cNvSpPr/>
            <p:nvPr/>
          </p:nvSpPr>
          <p:spPr>
            <a:xfrm>
              <a:off x="6379225" y="2514525"/>
              <a:ext cx="575" cy="650"/>
            </a:xfrm>
            <a:custGeom>
              <a:avLst/>
              <a:gdLst/>
              <a:ahLst/>
              <a:cxnLst/>
              <a:rect l="l" t="t" r="r" b="b"/>
              <a:pathLst>
                <a:path w="23" h="26" extrusionOk="0">
                  <a:moveTo>
                    <a:pt x="22" y="0"/>
                  </a:moveTo>
                  <a:cubicBezTo>
                    <a:pt x="10" y="5"/>
                    <a:pt x="10" y="10"/>
                    <a:pt x="0" y="16"/>
                  </a:cubicBezTo>
                  <a:cubicBezTo>
                    <a:pt x="0" y="21"/>
                    <a:pt x="0" y="26"/>
                    <a:pt x="5" y="26"/>
                  </a:cubicBezTo>
                  <a:cubicBezTo>
                    <a:pt x="5" y="26"/>
                    <a:pt x="10" y="21"/>
                    <a:pt x="10" y="16"/>
                  </a:cubicBezTo>
                  <a:lnTo>
                    <a:pt x="22"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8" name="Google Shape;1246;p29">
              <a:extLst>
                <a:ext uri="{FF2B5EF4-FFF2-40B4-BE49-F238E27FC236}">
                  <a16:creationId xmlns:a16="http://schemas.microsoft.com/office/drawing/2014/main" id="{50B95BC8-D194-C16D-72DD-7CF7C4918FB1}"/>
                </a:ext>
              </a:extLst>
            </p:cNvPr>
            <p:cNvSpPr/>
            <p:nvPr/>
          </p:nvSpPr>
          <p:spPr>
            <a:xfrm>
              <a:off x="6385925" y="2501200"/>
              <a:ext cx="575" cy="700"/>
            </a:xfrm>
            <a:custGeom>
              <a:avLst/>
              <a:gdLst/>
              <a:ahLst/>
              <a:cxnLst/>
              <a:rect l="l" t="t" r="r" b="b"/>
              <a:pathLst>
                <a:path w="23" h="28" extrusionOk="0">
                  <a:moveTo>
                    <a:pt x="22" y="1"/>
                  </a:moveTo>
                  <a:cubicBezTo>
                    <a:pt x="12" y="1"/>
                    <a:pt x="5" y="6"/>
                    <a:pt x="0" y="6"/>
                  </a:cubicBezTo>
                  <a:lnTo>
                    <a:pt x="0" y="28"/>
                  </a:lnTo>
                  <a:lnTo>
                    <a:pt x="22"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49" name="Google Shape;1247;p29">
              <a:extLst>
                <a:ext uri="{FF2B5EF4-FFF2-40B4-BE49-F238E27FC236}">
                  <a16:creationId xmlns:a16="http://schemas.microsoft.com/office/drawing/2014/main" id="{B0508BF0-057E-9B7E-E45F-EC9CE32E1058}"/>
                </a:ext>
              </a:extLst>
            </p:cNvPr>
            <p:cNvSpPr/>
            <p:nvPr/>
          </p:nvSpPr>
          <p:spPr>
            <a:xfrm>
              <a:off x="5871800" y="2834950"/>
              <a:ext cx="700" cy="575"/>
            </a:xfrm>
            <a:custGeom>
              <a:avLst/>
              <a:gdLst/>
              <a:ahLst/>
              <a:cxnLst/>
              <a:rect l="l" t="t" r="r" b="b"/>
              <a:pathLst>
                <a:path w="28" h="23" extrusionOk="0">
                  <a:moveTo>
                    <a:pt x="1" y="0"/>
                  </a:moveTo>
                  <a:cubicBezTo>
                    <a:pt x="6" y="5"/>
                    <a:pt x="12" y="12"/>
                    <a:pt x="22" y="22"/>
                  </a:cubicBezTo>
                  <a:cubicBezTo>
                    <a:pt x="22" y="17"/>
                    <a:pt x="22" y="17"/>
                    <a:pt x="28" y="17"/>
                  </a:cubicBezTo>
                  <a:lnTo>
                    <a:pt x="1"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0" name="Google Shape;1248;p29">
              <a:extLst>
                <a:ext uri="{FF2B5EF4-FFF2-40B4-BE49-F238E27FC236}">
                  <a16:creationId xmlns:a16="http://schemas.microsoft.com/office/drawing/2014/main" id="{99F8CF7B-125C-598E-CC6D-E54896CACC50}"/>
                </a:ext>
              </a:extLst>
            </p:cNvPr>
            <p:cNvSpPr/>
            <p:nvPr/>
          </p:nvSpPr>
          <p:spPr>
            <a:xfrm>
              <a:off x="6165550" y="2514525"/>
              <a:ext cx="525" cy="650"/>
            </a:xfrm>
            <a:custGeom>
              <a:avLst/>
              <a:gdLst/>
              <a:ahLst/>
              <a:cxnLst/>
              <a:rect l="l" t="t" r="r" b="b"/>
              <a:pathLst>
                <a:path w="21" h="26" extrusionOk="0">
                  <a:moveTo>
                    <a:pt x="21" y="0"/>
                  </a:moveTo>
                  <a:lnTo>
                    <a:pt x="0" y="26"/>
                  </a:lnTo>
                  <a:cubicBezTo>
                    <a:pt x="5" y="21"/>
                    <a:pt x="11" y="21"/>
                    <a:pt x="16" y="16"/>
                  </a:cubicBezTo>
                  <a:cubicBezTo>
                    <a:pt x="16" y="10"/>
                    <a:pt x="21" y="5"/>
                    <a:pt x="21"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1" name="Google Shape;1249;p29">
              <a:extLst>
                <a:ext uri="{FF2B5EF4-FFF2-40B4-BE49-F238E27FC236}">
                  <a16:creationId xmlns:a16="http://schemas.microsoft.com/office/drawing/2014/main" id="{00F40FFC-3B95-40B1-B926-DD82FC7FF49B}"/>
                </a:ext>
              </a:extLst>
            </p:cNvPr>
            <p:cNvSpPr/>
            <p:nvPr/>
          </p:nvSpPr>
          <p:spPr>
            <a:xfrm>
              <a:off x="6132075" y="2527800"/>
              <a:ext cx="575" cy="575"/>
            </a:xfrm>
            <a:custGeom>
              <a:avLst/>
              <a:gdLst/>
              <a:ahLst/>
              <a:cxnLst/>
              <a:rect l="l" t="t" r="r" b="b"/>
              <a:pathLst>
                <a:path w="23" h="23" extrusionOk="0">
                  <a:moveTo>
                    <a:pt x="23" y="0"/>
                  </a:moveTo>
                  <a:lnTo>
                    <a:pt x="1" y="22"/>
                  </a:lnTo>
                  <a:lnTo>
                    <a:pt x="18" y="22"/>
                  </a:lnTo>
                  <a:cubicBezTo>
                    <a:pt x="18" y="17"/>
                    <a:pt x="23" y="5"/>
                    <a:pt x="23"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2" name="Google Shape;1250;p29">
              <a:extLst>
                <a:ext uri="{FF2B5EF4-FFF2-40B4-BE49-F238E27FC236}">
                  <a16:creationId xmlns:a16="http://schemas.microsoft.com/office/drawing/2014/main" id="{732A2BBC-7AEE-C635-AE14-06A7CA04A05E}"/>
                </a:ext>
              </a:extLst>
            </p:cNvPr>
            <p:cNvSpPr/>
            <p:nvPr/>
          </p:nvSpPr>
          <p:spPr>
            <a:xfrm>
              <a:off x="5992000" y="2788075"/>
              <a:ext cx="575" cy="700"/>
            </a:xfrm>
            <a:custGeom>
              <a:avLst/>
              <a:gdLst/>
              <a:ahLst/>
              <a:cxnLst/>
              <a:rect l="l" t="t" r="r" b="b"/>
              <a:pathLst>
                <a:path w="23" h="28" extrusionOk="0">
                  <a:moveTo>
                    <a:pt x="22" y="1"/>
                  </a:moveTo>
                  <a:cubicBezTo>
                    <a:pt x="12" y="6"/>
                    <a:pt x="12" y="11"/>
                    <a:pt x="7" y="17"/>
                  </a:cubicBezTo>
                  <a:cubicBezTo>
                    <a:pt x="0" y="23"/>
                    <a:pt x="0" y="28"/>
                    <a:pt x="0" y="28"/>
                  </a:cubicBezTo>
                  <a:lnTo>
                    <a:pt x="22"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3" name="Google Shape;1251;p29">
              <a:extLst>
                <a:ext uri="{FF2B5EF4-FFF2-40B4-BE49-F238E27FC236}">
                  <a16:creationId xmlns:a16="http://schemas.microsoft.com/office/drawing/2014/main" id="{3B3D092C-8F1E-9AFE-5F13-8DEF6E74AC15}"/>
                </a:ext>
              </a:extLst>
            </p:cNvPr>
            <p:cNvSpPr/>
            <p:nvPr/>
          </p:nvSpPr>
          <p:spPr>
            <a:xfrm>
              <a:off x="6085350" y="2594675"/>
              <a:ext cx="575" cy="575"/>
            </a:xfrm>
            <a:custGeom>
              <a:avLst/>
              <a:gdLst/>
              <a:ahLst/>
              <a:cxnLst/>
              <a:rect l="l" t="t" r="r" b="b"/>
              <a:pathLst>
                <a:path w="23" h="23" extrusionOk="0">
                  <a:moveTo>
                    <a:pt x="0" y="1"/>
                  </a:moveTo>
                  <a:cubicBezTo>
                    <a:pt x="6" y="6"/>
                    <a:pt x="12" y="17"/>
                    <a:pt x="17" y="23"/>
                  </a:cubicBezTo>
                  <a:lnTo>
                    <a:pt x="22" y="23"/>
                  </a:lnTo>
                  <a:lnTo>
                    <a:pt x="0"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4" name="Google Shape;1252;p29">
              <a:extLst>
                <a:ext uri="{FF2B5EF4-FFF2-40B4-BE49-F238E27FC236}">
                  <a16:creationId xmlns:a16="http://schemas.microsoft.com/office/drawing/2014/main" id="{E1FE2164-F421-BAB8-AC85-1E3F369DA580}"/>
                </a:ext>
              </a:extLst>
            </p:cNvPr>
            <p:cNvSpPr/>
            <p:nvPr/>
          </p:nvSpPr>
          <p:spPr>
            <a:xfrm>
              <a:off x="6252150" y="2434450"/>
              <a:ext cx="700" cy="575"/>
            </a:xfrm>
            <a:custGeom>
              <a:avLst/>
              <a:gdLst/>
              <a:ahLst/>
              <a:cxnLst/>
              <a:rect l="l" t="t" r="r" b="b"/>
              <a:pathLst>
                <a:path w="28" h="23" extrusionOk="0">
                  <a:moveTo>
                    <a:pt x="1" y="0"/>
                  </a:moveTo>
                  <a:cubicBezTo>
                    <a:pt x="6" y="6"/>
                    <a:pt x="6" y="12"/>
                    <a:pt x="12" y="22"/>
                  </a:cubicBezTo>
                  <a:lnTo>
                    <a:pt x="28" y="22"/>
                  </a:lnTo>
                  <a:lnTo>
                    <a:pt x="1"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5" name="Google Shape;1253;p29">
              <a:extLst>
                <a:ext uri="{FF2B5EF4-FFF2-40B4-BE49-F238E27FC236}">
                  <a16:creationId xmlns:a16="http://schemas.microsoft.com/office/drawing/2014/main" id="{C894D702-DCE0-A623-4962-658E3A4B1B1A}"/>
                </a:ext>
              </a:extLst>
            </p:cNvPr>
            <p:cNvSpPr/>
            <p:nvPr/>
          </p:nvSpPr>
          <p:spPr>
            <a:xfrm>
              <a:off x="6232125" y="2421175"/>
              <a:ext cx="725" cy="525"/>
            </a:xfrm>
            <a:custGeom>
              <a:avLst/>
              <a:gdLst/>
              <a:ahLst/>
              <a:cxnLst/>
              <a:rect l="l" t="t" r="r" b="b"/>
              <a:pathLst>
                <a:path w="29" h="21" extrusionOk="0">
                  <a:moveTo>
                    <a:pt x="1" y="0"/>
                  </a:moveTo>
                  <a:cubicBezTo>
                    <a:pt x="7" y="5"/>
                    <a:pt x="7" y="11"/>
                    <a:pt x="13" y="16"/>
                  </a:cubicBezTo>
                  <a:cubicBezTo>
                    <a:pt x="16" y="16"/>
                    <a:pt x="20" y="16"/>
                    <a:pt x="24" y="18"/>
                  </a:cubicBezTo>
                  <a:lnTo>
                    <a:pt x="24" y="18"/>
                  </a:lnTo>
                  <a:lnTo>
                    <a:pt x="1" y="0"/>
                  </a:lnTo>
                  <a:close/>
                  <a:moveTo>
                    <a:pt x="24" y="18"/>
                  </a:moveTo>
                  <a:lnTo>
                    <a:pt x="28" y="21"/>
                  </a:lnTo>
                  <a:cubicBezTo>
                    <a:pt x="27" y="20"/>
                    <a:pt x="25" y="19"/>
                    <a:pt x="24" y="18"/>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6" name="Google Shape;1254;p29">
              <a:extLst>
                <a:ext uri="{FF2B5EF4-FFF2-40B4-BE49-F238E27FC236}">
                  <a16:creationId xmlns:a16="http://schemas.microsoft.com/office/drawing/2014/main" id="{65252C7B-F4F3-A697-8583-A1A10C792973}"/>
                </a:ext>
              </a:extLst>
            </p:cNvPr>
            <p:cNvSpPr/>
            <p:nvPr/>
          </p:nvSpPr>
          <p:spPr>
            <a:xfrm>
              <a:off x="6245450" y="2427750"/>
              <a:ext cx="700" cy="700"/>
            </a:xfrm>
            <a:custGeom>
              <a:avLst/>
              <a:gdLst/>
              <a:ahLst/>
              <a:cxnLst/>
              <a:rect l="l" t="t" r="r" b="b"/>
              <a:pathLst>
                <a:path w="28" h="28" extrusionOk="0">
                  <a:moveTo>
                    <a:pt x="6" y="0"/>
                  </a:moveTo>
                  <a:cubicBezTo>
                    <a:pt x="0" y="11"/>
                    <a:pt x="0" y="22"/>
                    <a:pt x="0" y="27"/>
                  </a:cubicBezTo>
                  <a:cubicBezTo>
                    <a:pt x="11" y="27"/>
                    <a:pt x="22" y="27"/>
                    <a:pt x="28" y="22"/>
                  </a:cubicBezTo>
                  <a:lnTo>
                    <a:pt x="6" y="0"/>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7" name="Google Shape;1255;p29">
              <a:extLst>
                <a:ext uri="{FF2B5EF4-FFF2-40B4-BE49-F238E27FC236}">
                  <a16:creationId xmlns:a16="http://schemas.microsoft.com/office/drawing/2014/main" id="{217E6344-3D72-7E5D-8B4B-C837744A787F}"/>
                </a:ext>
              </a:extLst>
            </p:cNvPr>
            <p:cNvSpPr/>
            <p:nvPr/>
          </p:nvSpPr>
          <p:spPr>
            <a:xfrm>
              <a:off x="6225425" y="2414425"/>
              <a:ext cx="700" cy="700"/>
            </a:xfrm>
            <a:custGeom>
              <a:avLst/>
              <a:gdLst/>
              <a:ahLst/>
              <a:cxnLst/>
              <a:rect l="l" t="t" r="r" b="b"/>
              <a:pathLst>
                <a:path w="28" h="28" extrusionOk="0">
                  <a:moveTo>
                    <a:pt x="1" y="1"/>
                  </a:moveTo>
                  <a:lnTo>
                    <a:pt x="1" y="28"/>
                  </a:lnTo>
                  <a:cubicBezTo>
                    <a:pt x="11" y="28"/>
                    <a:pt x="18" y="23"/>
                    <a:pt x="28" y="23"/>
                  </a:cubicBezTo>
                  <a:cubicBezTo>
                    <a:pt x="23" y="18"/>
                    <a:pt x="11" y="7"/>
                    <a:pt x="1"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8" name="Google Shape;1256;p29">
              <a:extLst>
                <a:ext uri="{FF2B5EF4-FFF2-40B4-BE49-F238E27FC236}">
                  <a16:creationId xmlns:a16="http://schemas.microsoft.com/office/drawing/2014/main" id="{00039705-962A-2B27-D71F-7408AE68E88E}"/>
                </a:ext>
              </a:extLst>
            </p:cNvPr>
            <p:cNvSpPr/>
            <p:nvPr/>
          </p:nvSpPr>
          <p:spPr>
            <a:xfrm>
              <a:off x="6025450" y="2694725"/>
              <a:ext cx="425" cy="575"/>
            </a:xfrm>
            <a:custGeom>
              <a:avLst/>
              <a:gdLst/>
              <a:ahLst/>
              <a:cxnLst/>
              <a:rect l="l" t="t" r="r" b="b"/>
              <a:pathLst>
                <a:path w="17" h="23" extrusionOk="0">
                  <a:moveTo>
                    <a:pt x="16" y="1"/>
                  </a:moveTo>
                  <a:lnTo>
                    <a:pt x="1" y="23"/>
                  </a:lnTo>
                  <a:cubicBezTo>
                    <a:pt x="6" y="17"/>
                    <a:pt x="11" y="12"/>
                    <a:pt x="16" y="6"/>
                  </a:cubicBezTo>
                  <a:lnTo>
                    <a:pt x="16"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59" name="Google Shape;1257;p29">
              <a:extLst>
                <a:ext uri="{FF2B5EF4-FFF2-40B4-BE49-F238E27FC236}">
                  <a16:creationId xmlns:a16="http://schemas.microsoft.com/office/drawing/2014/main" id="{8EF7A95F-B58A-11FD-F7C7-94A2CD2D57C7}"/>
                </a:ext>
              </a:extLst>
            </p:cNvPr>
            <p:cNvSpPr/>
            <p:nvPr/>
          </p:nvSpPr>
          <p:spPr>
            <a:xfrm>
              <a:off x="5818350" y="2854950"/>
              <a:ext cx="700" cy="575"/>
            </a:xfrm>
            <a:custGeom>
              <a:avLst/>
              <a:gdLst/>
              <a:ahLst/>
              <a:cxnLst/>
              <a:rect l="l" t="t" r="r" b="b"/>
              <a:pathLst>
                <a:path w="28" h="23" extrusionOk="0">
                  <a:moveTo>
                    <a:pt x="1" y="1"/>
                  </a:moveTo>
                  <a:cubicBezTo>
                    <a:pt x="2" y="2"/>
                    <a:pt x="4" y="4"/>
                    <a:pt x="7" y="6"/>
                  </a:cubicBezTo>
                  <a:lnTo>
                    <a:pt x="7" y="6"/>
                  </a:lnTo>
                  <a:lnTo>
                    <a:pt x="1" y="1"/>
                  </a:lnTo>
                  <a:close/>
                  <a:moveTo>
                    <a:pt x="7" y="6"/>
                  </a:moveTo>
                  <a:lnTo>
                    <a:pt x="28" y="23"/>
                  </a:lnTo>
                  <a:lnTo>
                    <a:pt x="23" y="18"/>
                  </a:lnTo>
                  <a:cubicBezTo>
                    <a:pt x="18" y="13"/>
                    <a:pt x="12" y="9"/>
                    <a:pt x="7" y="6"/>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0" name="Google Shape;1258;p29">
              <a:extLst>
                <a:ext uri="{FF2B5EF4-FFF2-40B4-BE49-F238E27FC236}">
                  <a16:creationId xmlns:a16="http://schemas.microsoft.com/office/drawing/2014/main" id="{61F35479-C18B-EC54-97F6-F985A6A50868}"/>
                </a:ext>
              </a:extLst>
            </p:cNvPr>
            <p:cNvSpPr/>
            <p:nvPr/>
          </p:nvSpPr>
          <p:spPr>
            <a:xfrm>
              <a:off x="5811500" y="2848250"/>
              <a:ext cx="825" cy="825"/>
            </a:xfrm>
            <a:custGeom>
              <a:avLst/>
              <a:gdLst/>
              <a:ahLst/>
              <a:cxnLst/>
              <a:rect l="l" t="t" r="r" b="b"/>
              <a:pathLst>
                <a:path w="33" h="33" extrusionOk="0">
                  <a:moveTo>
                    <a:pt x="7" y="1"/>
                  </a:moveTo>
                  <a:cubicBezTo>
                    <a:pt x="7" y="16"/>
                    <a:pt x="7" y="21"/>
                    <a:pt x="0" y="33"/>
                  </a:cubicBezTo>
                  <a:cubicBezTo>
                    <a:pt x="12" y="28"/>
                    <a:pt x="22" y="28"/>
                    <a:pt x="32" y="21"/>
                  </a:cubicBezTo>
                  <a:lnTo>
                    <a:pt x="7"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1" name="Google Shape;1259;p29">
              <a:extLst>
                <a:ext uri="{FF2B5EF4-FFF2-40B4-BE49-F238E27FC236}">
                  <a16:creationId xmlns:a16="http://schemas.microsoft.com/office/drawing/2014/main" id="{7459C3FA-3C61-CEFC-12CB-E66C96844F11}"/>
                </a:ext>
              </a:extLst>
            </p:cNvPr>
            <p:cNvSpPr/>
            <p:nvPr/>
          </p:nvSpPr>
          <p:spPr>
            <a:xfrm>
              <a:off x="5845075" y="2854950"/>
              <a:ext cx="700" cy="575"/>
            </a:xfrm>
            <a:custGeom>
              <a:avLst/>
              <a:gdLst/>
              <a:ahLst/>
              <a:cxnLst/>
              <a:rect l="l" t="t" r="r" b="b"/>
              <a:pathLst>
                <a:path w="28" h="23" extrusionOk="0">
                  <a:moveTo>
                    <a:pt x="28" y="1"/>
                  </a:moveTo>
                  <a:lnTo>
                    <a:pt x="1" y="23"/>
                  </a:lnTo>
                  <a:lnTo>
                    <a:pt x="11" y="23"/>
                  </a:lnTo>
                  <a:cubicBezTo>
                    <a:pt x="17" y="18"/>
                    <a:pt x="23" y="11"/>
                    <a:pt x="28"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2" name="Google Shape;1260;p29">
              <a:extLst>
                <a:ext uri="{FF2B5EF4-FFF2-40B4-BE49-F238E27FC236}">
                  <a16:creationId xmlns:a16="http://schemas.microsoft.com/office/drawing/2014/main" id="{82F4595A-74D8-24B0-9443-475DAC57323E}"/>
                </a:ext>
              </a:extLst>
            </p:cNvPr>
            <p:cNvSpPr/>
            <p:nvPr/>
          </p:nvSpPr>
          <p:spPr>
            <a:xfrm>
              <a:off x="6005450" y="2768050"/>
              <a:ext cx="425" cy="700"/>
            </a:xfrm>
            <a:custGeom>
              <a:avLst/>
              <a:gdLst/>
              <a:ahLst/>
              <a:cxnLst/>
              <a:rect l="l" t="t" r="r" b="b"/>
              <a:pathLst>
                <a:path w="17" h="28" extrusionOk="0">
                  <a:moveTo>
                    <a:pt x="17" y="1"/>
                  </a:moveTo>
                  <a:lnTo>
                    <a:pt x="0" y="28"/>
                  </a:lnTo>
                  <a:cubicBezTo>
                    <a:pt x="5" y="23"/>
                    <a:pt x="10" y="18"/>
                    <a:pt x="17" y="6"/>
                  </a:cubicBezTo>
                  <a:lnTo>
                    <a:pt x="17"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3" name="Google Shape;1261;p29">
              <a:extLst>
                <a:ext uri="{FF2B5EF4-FFF2-40B4-BE49-F238E27FC236}">
                  <a16:creationId xmlns:a16="http://schemas.microsoft.com/office/drawing/2014/main" id="{F6F6107F-8CF7-7B1F-E1ED-29D545CB67AD}"/>
                </a:ext>
              </a:extLst>
            </p:cNvPr>
            <p:cNvSpPr/>
            <p:nvPr/>
          </p:nvSpPr>
          <p:spPr>
            <a:xfrm>
              <a:off x="6018750" y="2701300"/>
              <a:ext cx="550" cy="700"/>
            </a:xfrm>
            <a:custGeom>
              <a:avLst/>
              <a:gdLst/>
              <a:ahLst/>
              <a:cxnLst/>
              <a:rect l="l" t="t" r="r" b="b"/>
              <a:pathLst>
                <a:path w="22" h="28" extrusionOk="0">
                  <a:moveTo>
                    <a:pt x="16" y="1"/>
                  </a:moveTo>
                  <a:lnTo>
                    <a:pt x="1" y="28"/>
                  </a:lnTo>
                  <a:lnTo>
                    <a:pt x="21" y="28"/>
                  </a:lnTo>
                  <a:cubicBezTo>
                    <a:pt x="16" y="23"/>
                    <a:pt x="21" y="12"/>
                    <a:pt x="16"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4" name="Google Shape;1262;p29">
              <a:extLst>
                <a:ext uri="{FF2B5EF4-FFF2-40B4-BE49-F238E27FC236}">
                  <a16:creationId xmlns:a16="http://schemas.microsoft.com/office/drawing/2014/main" id="{072ABAA9-8C6E-4AA4-FC8E-E0D6A38F80ED}"/>
                </a:ext>
              </a:extLst>
            </p:cNvPr>
            <p:cNvSpPr/>
            <p:nvPr/>
          </p:nvSpPr>
          <p:spPr>
            <a:xfrm>
              <a:off x="6005300" y="2728050"/>
              <a:ext cx="575" cy="675"/>
            </a:xfrm>
            <a:custGeom>
              <a:avLst/>
              <a:gdLst/>
              <a:ahLst/>
              <a:cxnLst/>
              <a:rect l="l" t="t" r="r" b="b"/>
              <a:pathLst>
                <a:path w="23" h="27" extrusionOk="0">
                  <a:moveTo>
                    <a:pt x="23" y="1"/>
                  </a:moveTo>
                  <a:cubicBezTo>
                    <a:pt x="20" y="3"/>
                    <a:pt x="18" y="5"/>
                    <a:pt x="17" y="8"/>
                  </a:cubicBezTo>
                  <a:lnTo>
                    <a:pt x="17" y="8"/>
                  </a:lnTo>
                  <a:lnTo>
                    <a:pt x="23" y="1"/>
                  </a:lnTo>
                  <a:close/>
                  <a:moveTo>
                    <a:pt x="17" y="8"/>
                  </a:moveTo>
                  <a:lnTo>
                    <a:pt x="1" y="27"/>
                  </a:lnTo>
                  <a:cubicBezTo>
                    <a:pt x="6" y="21"/>
                    <a:pt x="11" y="21"/>
                    <a:pt x="11" y="16"/>
                  </a:cubicBezTo>
                  <a:cubicBezTo>
                    <a:pt x="14" y="13"/>
                    <a:pt x="15" y="10"/>
                    <a:pt x="17" y="8"/>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5" name="Google Shape;1263;p29">
              <a:extLst>
                <a:ext uri="{FF2B5EF4-FFF2-40B4-BE49-F238E27FC236}">
                  <a16:creationId xmlns:a16="http://schemas.microsoft.com/office/drawing/2014/main" id="{A411064A-56FF-CB87-FB8F-BD6260B57DF4}"/>
                </a:ext>
              </a:extLst>
            </p:cNvPr>
            <p:cNvSpPr/>
            <p:nvPr/>
          </p:nvSpPr>
          <p:spPr>
            <a:xfrm>
              <a:off x="6265475" y="2441175"/>
              <a:ext cx="700" cy="550"/>
            </a:xfrm>
            <a:custGeom>
              <a:avLst/>
              <a:gdLst/>
              <a:ahLst/>
              <a:cxnLst/>
              <a:rect l="l" t="t" r="r" b="b"/>
              <a:pathLst>
                <a:path w="28" h="22" extrusionOk="0">
                  <a:moveTo>
                    <a:pt x="0" y="1"/>
                  </a:moveTo>
                  <a:cubicBezTo>
                    <a:pt x="10" y="11"/>
                    <a:pt x="16" y="16"/>
                    <a:pt x="21" y="22"/>
                  </a:cubicBezTo>
                  <a:cubicBezTo>
                    <a:pt x="21" y="22"/>
                    <a:pt x="27" y="22"/>
                    <a:pt x="27" y="16"/>
                  </a:cubicBezTo>
                  <a:lnTo>
                    <a:pt x="0"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6" name="Google Shape;1264;p29">
              <a:extLst>
                <a:ext uri="{FF2B5EF4-FFF2-40B4-BE49-F238E27FC236}">
                  <a16:creationId xmlns:a16="http://schemas.microsoft.com/office/drawing/2014/main" id="{D5AB4501-797B-6ABF-A891-88ECE8FC82E2}"/>
                </a:ext>
              </a:extLst>
            </p:cNvPr>
            <p:cNvSpPr/>
            <p:nvPr/>
          </p:nvSpPr>
          <p:spPr>
            <a:xfrm>
              <a:off x="6279175" y="2387575"/>
              <a:ext cx="400" cy="575"/>
            </a:xfrm>
            <a:custGeom>
              <a:avLst/>
              <a:gdLst/>
              <a:ahLst/>
              <a:cxnLst/>
              <a:rect l="l" t="t" r="r" b="b"/>
              <a:pathLst>
                <a:path w="16" h="23" extrusionOk="0">
                  <a:moveTo>
                    <a:pt x="0" y="1"/>
                  </a:moveTo>
                  <a:lnTo>
                    <a:pt x="16" y="23"/>
                  </a:lnTo>
                  <a:cubicBezTo>
                    <a:pt x="16" y="18"/>
                    <a:pt x="16" y="18"/>
                    <a:pt x="10" y="11"/>
                  </a:cubicBezTo>
                  <a:cubicBezTo>
                    <a:pt x="10" y="6"/>
                    <a:pt x="5" y="1"/>
                    <a:pt x="0"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7" name="Google Shape;1265;p29">
              <a:extLst>
                <a:ext uri="{FF2B5EF4-FFF2-40B4-BE49-F238E27FC236}">
                  <a16:creationId xmlns:a16="http://schemas.microsoft.com/office/drawing/2014/main" id="{5BE25078-A306-40AB-5175-AFDAAD25A9DF}"/>
                </a:ext>
              </a:extLst>
            </p:cNvPr>
            <p:cNvSpPr/>
            <p:nvPr/>
          </p:nvSpPr>
          <p:spPr>
            <a:xfrm>
              <a:off x="6285875" y="2407475"/>
              <a:ext cx="700" cy="825"/>
            </a:xfrm>
            <a:custGeom>
              <a:avLst/>
              <a:gdLst/>
              <a:ahLst/>
              <a:cxnLst/>
              <a:rect l="l" t="t" r="r" b="b"/>
              <a:pathLst>
                <a:path w="28" h="33" extrusionOk="0">
                  <a:moveTo>
                    <a:pt x="0" y="0"/>
                  </a:moveTo>
                  <a:lnTo>
                    <a:pt x="22" y="32"/>
                  </a:lnTo>
                  <a:cubicBezTo>
                    <a:pt x="22" y="21"/>
                    <a:pt x="22" y="16"/>
                    <a:pt x="27" y="5"/>
                  </a:cubicBezTo>
                  <a:cubicBezTo>
                    <a:pt x="17" y="5"/>
                    <a:pt x="11" y="5"/>
                    <a:pt x="0" y="0"/>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8" name="Google Shape;1266;p29">
              <a:extLst>
                <a:ext uri="{FF2B5EF4-FFF2-40B4-BE49-F238E27FC236}">
                  <a16:creationId xmlns:a16="http://schemas.microsoft.com/office/drawing/2014/main" id="{7A6335A1-2259-3AF5-EB39-FC6DA9C452AD}"/>
                </a:ext>
              </a:extLst>
            </p:cNvPr>
            <p:cNvSpPr/>
            <p:nvPr/>
          </p:nvSpPr>
          <p:spPr>
            <a:xfrm>
              <a:off x="6178700" y="2387450"/>
              <a:ext cx="575" cy="700"/>
            </a:xfrm>
            <a:custGeom>
              <a:avLst/>
              <a:gdLst/>
              <a:ahLst/>
              <a:cxnLst/>
              <a:rect l="l" t="t" r="r" b="b"/>
              <a:pathLst>
                <a:path w="23" h="28" extrusionOk="0">
                  <a:moveTo>
                    <a:pt x="22" y="1"/>
                  </a:moveTo>
                  <a:cubicBezTo>
                    <a:pt x="17" y="6"/>
                    <a:pt x="11" y="6"/>
                    <a:pt x="0" y="6"/>
                  </a:cubicBezTo>
                  <a:lnTo>
                    <a:pt x="0" y="28"/>
                  </a:lnTo>
                  <a:lnTo>
                    <a:pt x="22"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69" name="Google Shape;1267;p29">
              <a:extLst>
                <a:ext uri="{FF2B5EF4-FFF2-40B4-BE49-F238E27FC236}">
                  <a16:creationId xmlns:a16="http://schemas.microsoft.com/office/drawing/2014/main" id="{F0D3639E-2BA6-CB76-172B-1DDDFB261728}"/>
                </a:ext>
              </a:extLst>
            </p:cNvPr>
            <p:cNvSpPr/>
            <p:nvPr/>
          </p:nvSpPr>
          <p:spPr>
            <a:xfrm>
              <a:off x="6265600" y="2380875"/>
              <a:ext cx="825" cy="700"/>
            </a:xfrm>
            <a:custGeom>
              <a:avLst/>
              <a:gdLst/>
              <a:ahLst/>
              <a:cxnLst/>
              <a:rect l="l" t="t" r="r" b="b"/>
              <a:pathLst>
                <a:path w="33" h="28" extrusionOk="0">
                  <a:moveTo>
                    <a:pt x="0" y="1"/>
                  </a:moveTo>
                  <a:lnTo>
                    <a:pt x="33" y="28"/>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70" name="Google Shape;1268;p29">
              <a:extLst>
                <a:ext uri="{FF2B5EF4-FFF2-40B4-BE49-F238E27FC236}">
                  <a16:creationId xmlns:a16="http://schemas.microsoft.com/office/drawing/2014/main" id="{375C1B07-0FE9-F537-6DD4-D44121BF54DB}"/>
                </a:ext>
              </a:extLst>
            </p:cNvPr>
            <p:cNvSpPr/>
            <p:nvPr/>
          </p:nvSpPr>
          <p:spPr>
            <a:xfrm>
              <a:off x="6071925" y="2454325"/>
              <a:ext cx="550" cy="425"/>
            </a:xfrm>
            <a:custGeom>
              <a:avLst/>
              <a:gdLst/>
              <a:ahLst/>
              <a:cxnLst/>
              <a:rect l="l" t="t" r="r" b="b"/>
              <a:pathLst>
                <a:path w="22" h="17" extrusionOk="0">
                  <a:moveTo>
                    <a:pt x="16" y="1"/>
                  </a:moveTo>
                  <a:cubicBezTo>
                    <a:pt x="11" y="6"/>
                    <a:pt x="6" y="11"/>
                    <a:pt x="1" y="16"/>
                  </a:cubicBezTo>
                  <a:lnTo>
                    <a:pt x="22" y="6"/>
                  </a:lnTo>
                  <a:cubicBezTo>
                    <a:pt x="22" y="1"/>
                    <a:pt x="16" y="1"/>
                    <a:pt x="16" y="1"/>
                  </a:cubicBez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71" name="Google Shape;1269;p29">
              <a:extLst>
                <a:ext uri="{FF2B5EF4-FFF2-40B4-BE49-F238E27FC236}">
                  <a16:creationId xmlns:a16="http://schemas.microsoft.com/office/drawing/2014/main" id="{4CFFE723-2F4F-18B6-F44A-EDDED69027A9}"/>
                </a:ext>
              </a:extLst>
            </p:cNvPr>
            <p:cNvSpPr/>
            <p:nvPr/>
          </p:nvSpPr>
          <p:spPr>
            <a:xfrm>
              <a:off x="6265725" y="2380575"/>
              <a:ext cx="700" cy="1000"/>
            </a:xfrm>
            <a:custGeom>
              <a:avLst/>
              <a:gdLst/>
              <a:ahLst/>
              <a:cxnLst/>
              <a:rect l="l" t="t" r="r" b="b"/>
              <a:pathLst>
                <a:path w="28" h="40" extrusionOk="0">
                  <a:moveTo>
                    <a:pt x="28" y="1"/>
                  </a:moveTo>
                  <a:cubicBezTo>
                    <a:pt x="22" y="7"/>
                    <a:pt x="11" y="7"/>
                    <a:pt x="0" y="13"/>
                  </a:cubicBezTo>
                  <a:cubicBezTo>
                    <a:pt x="11" y="18"/>
                    <a:pt x="17" y="28"/>
                    <a:pt x="28" y="40"/>
                  </a:cubicBezTo>
                  <a:lnTo>
                    <a:pt x="28"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72" name="Google Shape;1270;p29">
              <a:extLst>
                <a:ext uri="{FF2B5EF4-FFF2-40B4-BE49-F238E27FC236}">
                  <a16:creationId xmlns:a16="http://schemas.microsoft.com/office/drawing/2014/main" id="{D16C983B-81AE-7FD0-AF07-615FDCBC30F3}"/>
                </a:ext>
              </a:extLst>
            </p:cNvPr>
            <p:cNvSpPr/>
            <p:nvPr/>
          </p:nvSpPr>
          <p:spPr>
            <a:xfrm>
              <a:off x="6605775" y="2581100"/>
              <a:ext cx="575" cy="450"/>
            </a:xfrm>
            <a:custGeom>
              <a:avLst/>
              <a:gdLst/>
              <a:ahLst/>
              <a:cxnLst/>
              <a:rect l="l" t="t" r="r" b="b"/>
              <a:pathLst>
                <a:path w="23" h="18" extrusionOk="0">
                  <a:moveTo>
                    <a:pt x="23" y="1"/>
                  </a:moveTo>
                  <a:cubicBezTo>
                    <a:pt x="18" y="6"/>
                    <a:pt x="11" y="6"/>
                    <a:pt x="6" y="12"/>
                  </a:cubicBezTo>
                  <a:lnTo>
                    <a:pt x="1" y="18"/>
                  </a:lnTo>
                  <a:lnTo>
                    <a:pt x="18" y="6"/>
                  </a:lnTo>
                  <a:lnTo>
                    <a:pt x="23" y="1"/>
                  </a:lnTo>
                  <a:close/>
                </a:path>
              </a:pathLst>
            </a:custGeom>
            <a:solidFill>
              <a:schemeClr val="bg2">
                <a:lumMod val="85000"/>
              </a:schemeClr>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73" name="Google Shape;1271;p29">
              <a:extLst>
                <a:ext uri="{FF2B5EF4-FFF2-40B4-BE49-F238E27FC236}">
                  <a16:creationId xmlns:a16="http://schemas.microsoft.com/office/drawing/2014/main" id="{2ADC7D71-D805-1AD0-D063-35134CCC6FC8}"/>
                </a:ext>
              </a:extLst>
            </p:cNvPr>
            <p:cNvSpPr/>
            <p:nvPr/>
          </p:nvSpPr>
          <p:spPr>
            <a:xfrm>
              <a:off x="5667125" y="2244950"/>
              <a:ext cx="632075" cy="617425"/>
            </a:xfrm>
            <a:custGeom>
              <a:avLst/>
              <a:gdLst/>
              <a:ahLst/>
              <a:cxnLst/>
              <a:rect l="l" t="t" r="r" b="b"/>
              <a:pathLst>
                <a:path w="25283" h="24697" extrusionOk="0">
                  <a:moveTo>
                    <a:pt x="24491" y="5711"/>
                  </a:moveTo>
                  <a:cubicBezTo>
                    <a:pt x="24491" y="5713"/>
                    <a:pt x="24492" y="5714"/>
                    <a:pt x="24492" y="5716"/>
                  </a:cubicBezTo>
                  <a:cubicBezTo>
                    <a:pt x="24492" y="5714"/>
                    <a:pt x="24492" y="5713"/>
                    <a:pt x="24491" y="5711"/>
                  </a:cubicBezTo>
                  <a:close/>
                  <a:moveTo>
                    <a:pt x="8591" y="0"/>
                  </a:moveTo>
                  <a:cubicBezTo>
                    <a:pt x="8462" y="0"/>
                    <a:pt x="8338" y="43"/>
                    <a:pt x="8242" y="129"/>
                  </a:cubicBezTo>
                  <a:cubicBezTo>
                    <a:pt x="8231" y="140"/>
                    <a:pt x="8220" y="151"/>
                    <a:pt x="8209" y="156"/>
                  </a:cubicBezTo>
                  <a:cubicBezTo>
                    <a:pt x="8204" y="162"/>
                    <a:pt x="8204" y="167"/>
                    <a:pt x="8193" y="172"/>
                  </a:cubicBezTo>
                  <a:cubicBezTo>
                    <a:pt x="8167" y="489"/>
                    <a:pt x="8113" y="801"/>
                    <a:pt x="8026" y="1118"/>
                  </a:cubicBezTo>
                  <a:cubicBezTo>
                    <a:pt x="8006" y="1198"/>
                    <a:pt x="7957" y="1279"/>
                    <a:pt x="7903" y="1365"/>
                  </a:cubicBezTo>
                  <a:cubicBezTo>
                    <a:pt x="7897" y="1644"/>
                    <a:pt x="7914" y="1977"/>
                    <a:pt x="7930" y="2375"/>
                  </a:cubicBezTo>
                  <a:cubicBezTo>
                    <a:pt x="8574" y="2918"/>
                    <a:pt x="8038" y="3826"/>
                    <a:pt x="8457" y="4389"/>
                  </a:cubicBezTo>
                  <a:cubicBezTo>
                    <a:pt x="8376" y="4900"/>
                    <a:pt x="8279" y="5410"/>
                    <a:pt x="8204" y="5926"/>
                  </a:cubicBezTo>
                  <a:cubicBezTo>
                    <a:pt x="8177" y="6098"/>
                    <a:pt x="8155" y="6270"/>
                    <a:pt x="8135" y="6437"/>
                  </a:cubicBezTo>
                  <a:cubicBezTo>
                    <a:pt x="7979" y="7731"/>
                    <a:pt x="6484" y="9333"/>
                    <a:pt x="5190" y="9563"/>
                  </a:cubicBezTo>
                  <a:cubicBezTo>
                    <a:pt x="5056" y="9643"/>
                    <a:pt x="4927" y="9725"/>
                    <a:pt x="4793" y="9805"/>
                  </a:cubicBezTo>
                  <a:lnTo>
                    <a:pt x="4755" y="9869"/>
                  </a:lnTo>
                  <a:cubicBezTo>
                    <a:pt x="4357" y="10052"/>
                    <a:pt x="4191" y="10374"/>
                    <a:pt x="4185" y="10799"/>
                  </a:cubicBezTo>
                  <a:cubicBezTo>
                    <a:pt x="3761" y="11202"/>
                    <a:pt x="3595" y="11659"/>
                    <a:pt x="3739" y="12266"/>
                  </a:cubicBezTo>
                  <a:cubicBezTo>
                    <a:pt x="3836" y="12657"/>
                    <a:pt x="3745" y="12795"/>
                    <a:pt x="3564" y="12795"/>
                  </a:cubicBezTo>
                  <a:cubicBezTo>
                    <a:pt x="3446" y="12795"/>
                    <a:pt x="3290" y="12736"/>
                    <a:pt x="3124" y="12650"/>
                  </a:cubicBezTo>
                  <a:lnTo>
                    <a:pt x="3124" y="12650"/>
                  </a:lnTo>
                  <a:cubicBezTo>
                    <a:pt x="2927" y="12472"/>
                    <a:pt x="2775" y="12400"/>
                    <a:pt x="2651" y="12400"/>
                  </a:cubicBezTo>
                  <a:cubicBezTo>
                    <a:pt x="2384" y="12400"/>
                    <a:pt x="2247" y="12738"/>
                    <a:pt x="2068" y="13077"/>
                  </a:cubicBezTo>
                  <a:cubicBezTo>
                    <a:pt x="1602" y="13979"/>
                    <a:pt x="2075" y="14951"/>
                    <a:pt x="1790" y="15859"/>
                  </a:cubicBezTo>
                  <a:cubicBezTo>
                    <a:pt x="1381" y="15973"/>
                    <a:pt x="1172" y="16214"/>
                    <a:pt x="1242" y="16650"/>
                  </a:cubicBezTo>
                  <a:cubicBezTo>
                    <a:pt x="1183" y="16633"/>
                    <a:pt x="1126" y="16626"/>
                    <a:pt x="1071" y="16626"/>
                  </a:cubicBezTo>
                  <a:cubicBezTo>
                    <a:pt x="834" y="16626"/>
                    <a:pt x="627" y="16757"/>
                    <a:pt x="414" y="16853"/>
                  </a:cubicBezTo>
                  <a:cubicBezTo>
                    <a:pt x="350" y="16960"/>
                    <a:pt x="307" y="17074"/>
                    <a:pt x="270" y="17186"/>
                  </a:cubicBezTo>
                  <a:cubicBezTo>
                    <a:pt x="275" y="17191"/>
                    <a:pt x="275" y="17197"/>
                    <a:pt x="280" y="17208"/>
                  </a:cubicBezTo>
                  <a:cubicBezTo>
                    <a:pt x="270" y="17235"/>
                    <a:pt x="253" y="17267"/>
                    <a:pt x="248" y="17304"/>
                  </a:cubicBezTo>
                  <a:cubicBezTo>
                    <a:pt x="0" y="19647"/>
                    <a:pt x="1344" y="21414"/>
                    <a:pt x="3030" y="22832"/>
                  </a:cubicBezTo>
                  <a:cubicBezTo>
                    <a:pt x="3600" y="23310"/>
                    <a:pt x="5158" y="24487"/>
                    <a:pt x="6330" y="24611"/>
                  </a:cubicBezTo>
                  <a:cubicBezTo>
                    <a:pt x="6429" y="24667"/>
                    <a:pt x="6529" y="24697"/>
                    <a:pt x="6630" y="24697"/>
                  </a:cubicBezTo>
                  <a:cubicBezTo>
                    <a:pt x="6763" y="24697"/>
                    <a:pt x="6896" y="24644"/>
                    <a:pt x="7027" y="24525"/>
                  </a:cubicBezTo>
                  <a:cubicBezTo>
                    <a:pt x="7086" y="24498"/>
                    <a:pt x="7146" y="24471"/>
                    <a:pt x="7200" y="24433"/>
                  </a:cubicBezTo>
                  <a:cubicBezTo>
                    <a:pt x="7236" y="24441"/>
                    <a:pt x="7271" y="24444"/>
                    <a:pt x="7303" y="24444"/>
                  </a:cubicBezTo>
                  <a:cubicBezTo>
                    <a:pt x="7482" y="24444"/>
                    <a:pt x="7605" y="24333"/>
                    <a:pt x="7677" y="24134"/>
                  </a:cubicBezTo>
                  <a:lnTo>
                    <a:pt x="7677" y="24134"/>
                  </a:lnTo>
                  <a:cubicBezTo>
                    <a:pt x="7852" y="23964"/>
                    <a:pt x="8028" y="23792"/>
                    <a:pt x="8209" y="23622"/>
                  </a:cubicBezTo>
                  <a:cubicBezTo>
                    <a:pt x="8199" y="23612"/>
                    <a:pt x="8193" y="23605"/>
                    <a:pt x="8188" y="23600"/>
                  </a:cubicBezTo>
                  <a:lnTo>
                    <a:pt x="8188" y="23600"/>
                  </a:lnTo>
                  <a:lnTo>
                    <a:pt x="8215" y="23617"/>
                  </a:lnTo>
                  <a:cubicBezTo>
                    <a:pt x="8209" y="23617"/>
                    <a:pt x="8209" y="23617"/>
                    <a:pt x="8209" y="23622"/>
                  </a:cubicBezTo>
                  <a:cubicBezTo>
                    <a:pt x="8379" y="23797"/>
                    <a:pt x="8507" y="24094"/>
                    <a:pt x="8737" y="24094"/>
                  </a:cubicBezTo>
                  <a:cubicBezTo>
                    <a:pt x="8833" y="24094"/>
                    <a:pt x="8947" y="24042"/>
                    <a:pt x="9090" y="23907"/>
                  </a:cubicBezTo>
                  <a:cubicBezTo>
                    <a:pt x="9488" y="23885"/>
                    <a:pt x="9950" y="23821"/>
                    <a:pt x="10198" y="23573"/>
                  </a:cubicBezTo>
                  <a:cubicBezTo>
                    <a:pt x="10230" y="23536"/>
                    <a:pt x="10262" y="23498"/>
                    <a:pt x="10288" y="23456"/>
                  </a:cubicBezTo>
                  <a:cubicBezTo>
                    <a:pt x="10718" y="22720"/>
                    <a:pt x="11401" y="22457"/>
                    <a:pt x="12093" y="22204"/>
                  </a:cubicBezTo>
                  <a:cubicBezTo>
                    <a:pt x="12432" y="22134"/>
                    <a:pt x="12770" y="22053"/>
                    <a:pt x="13039" y="21871"/>
                  </a:cubicBezTo>
                  <a:cubicBezTo>
                    <a:pt x="13324" y="21678"/>
                    <a:pt x="13447" y="21500"/>
                    <a:pt x="13496" y="21312"/>
                  </a:cubicBezTo>
                  <a:cubicBezTo>
                    <a:pt x="13570" y="21210"/>
                    <a:pt x="13598" y="21091"/>
                    <a:pt x="13550" y="20930"/>
                  </a:cubicBezTo>
                  <a:lnTo>
                    <a:pt x="13550" y="20930"/>
                  </a:lnTo>
                  <a:cubicBezTo>
                    <a:pt x="13543" y="20942"/>
                    <a:pt x="13538" y="20947"/>
                    <a:pt x="13533" y="20952"/>
                  </a:cubicBezTo>
                  <a:lnTo>
                    <a:pt x="13550" y="20925"/>
                  </a:lnTo>
                  <a:lnTo>
                    <a:pt x="13550" y="20930"/>
                  </a:lnTo>
                  <a:cubicBezTo>
                    <a:pt x="13872" y="20543"/>
                    <a:pt x="13592" y="20146"/>
                    <a:pt x="13511" y="19754"/>
                  </a:cubicBezTo>
                  <a:cubicBezTo>
                    <a:pt x="13555" y="19576"/>
                    <a:pt x="13614" y="19394"/>
                    <a:pt x="13694" y="19211"/>
                  </a:cubicBezTo>
                  <a:cubicBezTo>
                    <a:pt x="13930" y="18991"/>
                    <a:pt x="14071" y="18728"/>
                    <a:pt x="14076" y="18395"/>
                  </a:cubicBezTo>
                  <a:cubicBezTo>
                    <a:pt x="14098" y="18358"/>
                    <a:pt x="14113" y="18314"/>
                    <a:pt x="14135" y="18277"/>
                  </a:cubicBezTo>
                  <a:cubicBezTo>
                    <a:pt x="14291" y="18271"/>
                    <a:pt x="14323" y="18132"/>
                    <a:pt x="14349" y="17997"/>
                  </a:cubicBezTo>
                  <a:lnTo>
                    <a:pt x="14349" y="17997"/>
                  </a:lnTo>
                  <a:cubicBezTo>
                    <a:pt x="14344" y="18003"/>
                    <a:pt x="14339" y="18008"/>
                    <a:pt x="14334" y="18014"/>
                  </a:cubicBezTo>
                  <a:lnTo>
                    <a:pt x="14349" y="17992"/>
                  </a:lnTo>
                  <a:lnTo>
                    <a:pt x="14349" y="17997"/>
                  </a:lnTo>
                  <a:cubicBezTo>
                    <a:pt x="14731" y="17654"/>
                    <a:pt x="14726" y="17148"/>
                    <a:pt x="14882" y="16708"/>
                  </a:cubicBezTo>
                  <a:cubicBezTo>
                    <a:pt x="15026" y="16300"/>
                    <a:pt x="15102" y="15876"/>
                    <a:pt x="15182" y="15445"/>
                  </a:cubicBezTo>
                  <a:cubicBezTo>
                    <a:pt x="15263" y="15279"/>
                    <a:pt x="15338" y="15107"/>
                    <a:pt x="15440" y="14941"/>
                  </a:cubicBezTo>
                  <a:cubicBezTo>
                    <a:pt x="15871" y="14205"/>
                    <a:pt x="16466" y="14425"/>
                    <a:pt x="17036" y="14322"/>
                  </a:cubicBezTo>
                  <a:cubicBezTo>
                    <a:pt x="17142" y="14404"/>
                    <a:pt x="17248" y="14446"/>
                    <a:pt x="17351" y="14446"/>
                  </a:cubicBezTo>
                  <a:cubicBezTo>
                    <a:pt x="17579" y="14446"/>
                    <a:pt x="17791" y="14239"/>
                    <a:pt x="17954" y="13813"/>
                  </a:cubicBezTo>
                  <a:cubicBezTo>
                    <a:pt x="18019" y="13640"/>
                    <a:pt x="18073" y="13464"/>
                    <a:pt x="18127" y="13286"/>
                  </a:cubicBezTo>
                  <a:cubicBezTo>
                    <a:pt x="18282" y="12969"/>
                    <a:pt x="18417" y="12636"/>
                    <a:pt x="18556" y="12335"/>
                  </a:cubicBezTo>
                  <a:cubicBezTo>
                    <a:pt x="18965" y="11475"/>
                    <a:pt x="19164" y="11949"/>
                    <a:pt x="19776" y="11589"/>
                  </a:cubicBezTo>
                  <a:cubicBezTo>
                    <a:pt x="20270" y="11304"/>
                    <a:pt x="20570" y="10525"/>
                    <a:pt x="20759" y="9859"/>
                  </a:cubicBezTo>
                  <a:cubicBezTo>
                    <a:pt x="20835" y="9772"/>
                    <a:pt x="20904" y="9681"/>
                    <a:pt x="20947" y="9574"/>
                  </a:cubicBezTo>
                  <a:cubicBezTo>
                    <a:pt x="20989" y="9472"/>
                    <a:pt x="21011" y="9358"/>
                    <a:pt x="21011" y="9229"/>
                  </a:cubicBezTo>
                  <a:cubicBezTo>
                    <a:pt x="21016" y="8720"/>
                    <a:pt x="21113" y="8237"/>
                    <a:pt x="21247" y="7753"/>
                  </a:cubicBezTo>
                  <a:cubicBezTo>
                    <a:pt x="21378" y="7409"/>
                    <a:pt x="21564" y="7140"/>
                    <a:pt x="21839" y="7140"/>
                  </a:cubicBezTo>
                  <a:cubicBezTo>
                    <a:pt x="21938" y="7140"/>
                    <a:pt x="22048" y="7175"/>
                    <a:pt x="22172" y="7253"/>
                  </a:cubicBezTo>
                  <a:cubicBezTo>
                    <a:pt x="22714" y="7592"/>
                    <a:pt x="23230" y="7876"/>
                    <a:pt x="23843" y="8064"/>
                  </a:cubicBezTo>
                  <a:cubicBezTo>
                    <a:pt x="23968" y="8103"/>
                    <a:pt x="24094" y="8121"/>
                    <a:pt x="24211" y="8121"/>
                  </a:cubicBezTo>
                  <a:cubicBezTo>
                    <a:pt x="24239" y="8121"/>
                    <a:pt x="24267" y="8120"/>
                    <a:pt x="24294" y="8118"/>
                  </a:cubicBezTo>
                  <a:cubicBezTo>
                    <a:pt x="24340" y="8134"/>
                    <a:pt x="24384" y="8142"/>
                    <a:pt x="24425" y="8142"/>
                  </a:cubicBezTo>
                  <a:cubicBezTo>
                    <a:pt x="24545" y="8142"/>
                    <a:pt x="24642" y="8076"/>
                    <a:pt x="24718" y="7967"/>
                  </a:cubicBezTo>
                  <a:cubicBezTo>
                    <a:pt x="24917" y="7838"/>
                    <a:pt x="25067" y="7635"/>
                    <a:pt x="25137" y="7377"/>
                  </a:cubicBezTo>
                  <a:cubicBezTo>
                    <a:pt x="25169" y="7248"/>
                    <a:pt x="25127" y="7146"/>
                    <a:pt x="25057" y="7076"/>
                  </a:cubicBezTo>
                  <a:cubicBezTo>
                    <a:pt x="25105" y="6995"/>
                    <a:pt x="25159" y="6925"/>
                    <a:pt x="25223" y="6876"/>
                  </a:cubicBezTo>
                  <a:cubicBezTo>
                    <a:pt x="25229" y="6802"/>
                    <a:pt x="25239" y="6732"/>
                    <a:pt x="25256" y="6678"/>
                  </a:cubicBezTo>
                  <a:cubicBezTo>
                    <a:pt x="25276" y="6619"/>
                    <a:pt x="25283" y="6554"/>
                    <a:pt x="25276" y="6490"/>
                  </a:cubicBezTo>
                  <a:lnTo>
                    <a:pt x="25276" y="6490"/>
                  </a:lnTo>
                  <a:cubicBezTo>
                    <a:pt x="25157" y="6498"/>
                    <a:pt x="25032" y="6517"/>
                    <a:pt x="24913" y="6517"/>
                  </a:cubicBezTo>
                  <a:cubicBezTo>
                    <a:pt x="24867" y="6517"/>
                    <a:pt x="24821" y="6514"/>
                    <a:pt x="24777" y="6506"/>
                  </a:cubicBezTo>
                  <a:cubicBezTo>
                    <a:pt x="24772" y="6517"/>
                    <a:pt x="24772" y="6522"/>
                    <a:pt x="24772" y="6533"/>
                  </a:cubicBezTo>
                  <a:lnTo>
                    <a:pt x="24750" y="6501"/>
                  </a:lnTo>
                  <a:lnTo>
                    <a:pt x="24750" y="6501"/>
                  </a:lnTo>
                  <a:cubicBezTo>
                    <a:pt x="24761" y="6506"/>
                    <a:pt x="24767" y="6506"/>
                    <a:pt x="24777" y="6506"/>
                  </a:cubicBezTo>
                  <a:cubicBezTo>
                    <a:pt x="24869" y="6179"/>
                    <a:pt x="24708" y="5937"/>
                    <a:pt x="24492" y="5716"/>
                  </a:cubicBezTo>
                  <a:lnTo>
                    <a:pt x="24492" y="5716"/>
                  </a:lnTo>
                  <a:cubicBezTo>
                    <a:pt x="24498" y="5723"/>
                    <a:pt x="24498" y="5723"/>
                    <a:pt x="24498" y="5728"/>
                  </a:cubicBezTo>
                  <a:lnTo>
                    <a:pt x="24482" y="5706"/>
                  </a:lnTo>
                  <a:lnTo>
                    <a:pt x="24482" y="5706"/>
                  </a:lnTo>
                  <a:cubicBezTo>
                    <a:pt x="24486" y="5706"/>
                    <a:pt x="24489" y="5708"/>
                    <a:pt x="24491" y="5711"/>
                  </a:cubicBezTo>
                  <a:lnTo>
                    <a:pt x="24491" y="5711"/>
                  </a:lnTo>
                  <a:cubicBezTo>
                    <a:pt x="24429" y="5507"/>
                    <a:pt x="24312" y="5397"/>
                    <a:pt x="24138" y="5397"/>
                  </a:cubicBezTo>
                  <a:cubicBezTo>
                    <a:pt x="24088" y="5397"/>
                    <a:pt x="24032" y="5407"/>
                    <a:pt x="23972" y="5426"/>
                  </a:cubicBezTo>
                  <a:lnTo>
                    <a:pt x="23972" y="5465"/>
                  </a:lnTo>
                  <a:cubicBezTo>
                    <a:pt x="23961" y="5453"/>
                    <a:pt x="23955" y="5443"/>
                    <a:pt x="23944" y="5438"/>
                  </a:cubicBezTo>
                  <a:cubicBezTo>
                    <a:pt x="23955" y="5432"/>
                    <a:pt x="23966" y="5432"/>
                    <a:pt x="23972" y="5426"/>
                  </a:cubicBezTo>
                  <a:cubicBezTo>
                    <a:pt x="24030" y="4966"/>
                    <a:pt x="23963" y="4642"/>
                    <a:pt x="23365" y="4642"/>
                  </a:cubicBezTo>
                  <a:cubicBezTo>
                    <a:pt x="23356" y="4642"/>
                    <a:pt x="23347" y="4642"/>
                    <a:pt x="23337" y="4642"/>
                  </a:cubicBezTo>
                  <a:cubicBezTo>
                    <a:pt x="22389" y="4669"/>
                    <a:pt x="21476" y="4743"/>
                    <a:pt x="20742" y="5438"/>
                  </a:cubicBezTo>
                  <a:lnTo>
                    <a:pt x="20742" y="5438"/>
                  </a:lnTo>
                  <a:cubicBezTo>
                    <a:pt x="20567" y="5447"/>
                    <a:pt x="20480" y="5538"/>
                    <a:pt x="20463" y="5706"/>
                  </a:cubicBezTo>
                  <a:cubicBezTo>
                    <a:pt x="20474" y="5706"/>
                    <a:pt x="20480" y="5706"/>
                    <a:pt x="20485" y="5701"/>
                  </a:cubicBezTo>
                  <a:lnTo>
                    <a:pt x="20485" y="5701"/>
                  </a:lnTo>
                  <a:lnTo>
                    <a:pt x="20463" y="5728"/>
                  </a:lnTo>
                  <a:lnTo>
                    <a:pt x="20463" y="5706"/>
                  </a:lnTo>
                  <a:cubicBezTo>
                    <a:pt x="20265" y="5733"/>
                    <a:pt x="20173" y="5845"/>
                    <a:pt x="20211" y="6060"/>
                  </a:cubicBezTo>
                  <a:cubicBezTo>
                    <a:pt x="19944" y="5919"/>
                    <a:pt x="19701" y="5842"/>
                    <a:pt x="19474" y="5842"/>
                  </a:cubicBezTo>
                  <a:cubicBezTo>
                    <a:pt x="19193" y="5842"/>
                    <a:pt x="18935" y="5959"/>
                    <a:pt x="18685" y="6211"/>
                  </a:cubicBezTo>
                  <a:cubicBezTo>
                    <a:pt x="18621" y="6281"/>
                    <a:pt x="18556" y="6356"/>
                    <a:pt x="18497" y="6437"/>
                  </a:cubicBezTo>
                  <a:cubicBezTo>
                    <a:pt x="18030" y="7060"/>
                    <a:pt x="17411" y="7565"/>
                    <a:pt x="16863" y="8118"/>
                  </a:cubicBezTo>
                  <a:cubicBezTo>
                    <a:pt x="16808" y="8104"/>
                    <a:pt x="16755" y="8098"/>
                    <a:pt x="16706" y="8098"/>
                  </a:cubicBezTo>
                  <a:cubicBezTo>
                    <a:pt x="16501" y="8098"/>
                    <a:pt x="16342" y="8207"/>
                    <a:pt x="16208" y="8376"/>
                  </a:cubicBezTo>
                  <a:cubicBezTo>
                    <a:pt x="16208" y="8376"/>
                    <a:pt x="16214" y="8376"/>
                    <a:pt x="16214" y="8381"/>
                  </a:cubicBezTo>
                  <a:lnTo>
                    <a:pt x="16193" y="8391"/>
                  </a:lnTo>
                  <a:cubicBezTo>
                    <a:pt x="16198" y="8386"/>
                    <a:pt x="16203" y="8381"/>
                    <a:pt x="16208" y="8376"/>
                  </a:cubicBezTo>
                  <a:cubicBezTo>
                    <a:pt x="15510" y="7871"/>
                    <a:pt x="15252" y="6829"/>
                    <a:pt x="15489" y="6001"/>
                  </a:cubicBezTo>
                  <a:cubicBezTo>
                    <a:pt x="15387" y="5824"/>
                    <a:pt x="15258" y="5663"/>
                    <a:pt x="15085" y="5545"/>
                  </a:cubicBezTo>
                  <a:cubicBezTo>
                    <a:pt x="15026" y="5502"/>
                    <a:pt x="14968" y="5465"/>
                    <a:pt x="14904" y="5432"/>
                  </a:cubicBezTo>
                  <a:cubicBezTo>
                    <a:pt x="14865" y="5416"/>
                    <a:pt x="14833" y="5405"/>
                    <a:pt x="14795" y="5389"/>
                  </a:cubicBezTo>
                  <a:cubicBezTo>
                    <a:pt x="13474" y="5582"/>
                    <a:pt x="12147" y="5775"/>
                    <a:pt x="10831" y="6033"/>
                  </a:cubicBezTo>
                  <a:cubicBezTo>
                    <a:pt x="10689" y="6061"/>
                    <a:pt x="10563" y="6075"/>
                    <a:pt x="10451" y="6075"/>
                  </a:cubicBezTo>
                  <a:cubicBezTo>
                    <a:pt x="9913" y="6075"/>
                    <a:pt x="9694" y="5758"/>
                    <a:pt x="9595" y="5153"/>
                  </a:cubicBezTo>
                  <a:cubicBezTo>
                    <a:pt x="9316" y="3444"/>
                    <a:pt x="9015" y="1731"/>
                    <a:pt x="8730" y="22"/>
                  </a:cubicBezTo>
                  <a:cubicBezTo>
                    <a:pt x="8683" y="6"/>
                    <a:pt x="8639" y="0"/>
                    <a:pt x="8591" y="0"/>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Tx/>
                  <a:latin typeface="Segoe UI" panose="020B0502040204020203" pitchFamily="34" charset="0"/>
                  <a:ea typeface="+mn-ea"/>
                  <a:cs typeface="+mn-cs"/>
                </a:rPr>
                <a:t>WV</a:t>
              </a:r>
              <a:endParaRPr kumimoji="0" sz="1000" b="0" i="0" u="none" strike="noStrike" kern="1200" cap="none" spc="0" normalizeH="0" baseline="0" noProof="0" dirty="0">
                <a:ln>
                  <a:noFill/>
                </a:ln>
                <a:effectLst/>
                <a:uLnTx/>
                <a:uFillTx/>
                <a:latin typeface="Segoe UI" panose="020B0502040204020203" pitchFamily="34" charset="0"/>
                <a:ea typeface="+mn-ea"/>
                <a:cs typeface="+mn-cs"/>
              </a:endParaRPr>
            </a:p>
          </p:txBody>
        </p:sp>
        <p:sp>
          <p:nvSpPr>
            <p:cNvPr id="274" name="Google Shape;1272;p29">
              <a:extLst>
                <a:ext uri="{FF2B5EF4-FFF2-40B4-BE49-F238E27FC236}">
                  <a16:creationId xmlns:a16="http://schemas.microsoft.com/office/drawing/2014/main" id="{4C855360-2564-89BF-1E0A-012C9852E06A}"/>
                </a:ext>
              </a:extLst>
            </p:cNvPr>
            <p:cNvSpPr/>
            <p:nvPr/>
          </p:nvSpPr>
          <p:spPr>
            <a:xfrm>
              <a:off x="5648325" y="3196075"/>
              <a:ext cx="711700" cy="537400"/>
            </a:xfrm>
            <a:custGeom>
              <a:avLst/>
              <a:gdLst/>
              <a:ahLst/>
              <a:cxnLst/>
              <a:rect l="l" t="t" r="r" b="b"/>
              <a:pathLst>
                <a:path w="28468" h="21496" extrusionOk="0">
                  <a:moveTo>
                    <a:pt x="7075" y="10638"/>
                  </a:moveTo>
                  <a:lnTo>
                    <a:pt x="7080" y="10645"/>
                  </a:lnTo>
                  <a:lnTo>
                    <a:pt x="7080" y="10645"/>
                  </a:lnTo>
                  <a:cubicBezTo>
                    <a:pt x="7078" y="10643"/>
                    <a:pt x="7077" y="10640"/>
                    <a:pt x="7075" y="10638"/>
                  </a:cubicBezTo>
                  <a:close/>
                  <a:moveTo>
                    <a:pt x="7881" y="11175"/>
                  </a:moveTo>
                  <a:lnTo>
                    <a:pt x="7881" y="11175"/>
                  </a:lnTo>
                  <a:lnTo>
                    <a:pt x="7881" y="11175"/>
                  </a:lnTo>
                  <a:cubicBezTo>
                    <a:pt x="7887" y="11181"/>
                    <a:pt x="7893" y="11186"/>
                    <a:pt x="7898" y="11192"/>
                  </a:cubicBezTo>
                  <a:cubicBezTo>
                    <a:pt x="7893" y="11192"/>
                    <a:pt x="7887" y="11197"/>
                    <a:pt x="7876" y="11197"/>
                  </a:cubicBezTo>
                  <a:cubicBezTo>
                    <a:pt x="7881" y="11192"/>
                    <a:pt x="7881" y="11181"/>
                    <a:pt x="7881" y="11175"/>
                  </a:cubicBezTo>
                  <a:close/>
                  <a:moveTo>
                    <a:pt x="14823" y="18127"/>
                  </a:moveTo>
                  <a:cubicBezTo>
                    <a:pt x="14833" y="18127"/>
                    <a:pt x="14833" y="18133"/>
                    <a:pt x="14843" y="18133"/>
                  </a:cubicBezTo>
                  <a:lnTo>
                    <a:pt x="14823" y="18133"/>
                  </a:lnTo>
                  <a:lnTo>
                    <a:pt x="14823" y="18127"/>
                  </a:lnTo>
                  <a:close/>
                  <a:moveTo>
                    <a:pt x="11964" y="1"/>
                  </a:moveTo>
                  <a:cubicBezTo>
                    <a:pt x="11588" y="55"/>
                    <a:pt x="11196" y="168"/>
                    <a:pt x="10814" y="248"/>
                  </a:cubicBezTo>
                  <a:cubicBezTo>
                    <a:pt x="10417" y="345"/>
                    <a:pt x="10020" y="437"/>
                    <a:pt x="9622" y="533"/>
                  </a:cubicBezTo>
                  <a:cubicBezTo>
                    <a:pt x="9166" y="482"/>
                    <a:pt x="8713" y="455"/>
                    <a:pt x="8262" y="455"/>
                  </a:cubicBezTo>
                  <a:cubicBezTo>
                    <a:pt x="7139" y="455"/>
                    <a:pt x="6036" y="628"/>
                    <a:pt x="4963" y="1053"/>
                  </a:cubicBezTo>
                  <a:lnTo>
                    <a:pt x="4963" y="1053"/>
                  </a:lnTo>
                  <a:cubicBezTo>
                    <a:pt x="4965" y="1051"/>
                    <a:pt x="4965" y="1047"/>
                    <a:pt x="4965" y="1044"/>
                  </a:cubicBezTo>
                  <a:cubicBezTo>
                    <a:pt x="4921" y="1041"/>
                    <a:pt x="4878" y="1039"/>
                    <a:pt x="4836" y="1039"/>
                  </a:cubicBezTo>
                  <a:cubicBezTo>
                    <a:pt x="4484" y="1039"/>
                    <a:pt x="4215" y="1154"/>
                    <a:pt x="4148" y="1580"/>
                  </a:cubicBezTo>
                  <a:cubicBezTo>
                    <a:pt x="4154" y="1580"/>
                    <a:pt x="4159" y="1580"/>
                    <a:pt x="4164" y="1587"/>
                  </a:cubicBezTo>
                  <a:lnTo>
                    <a:pt x="4142" y="1602"/>
                  </a:lnTo>
                  <a:cubicBezTo>
                    <a:pt x="4148" y="1592"/>
                    <a:pt x="4148" y="1587"/>
                    <a:pt x="4148" y="1580"/>
                  </a:cubicBezTo>
                  <a:cubicBezTo>
                    <a:pt x="4069" y="1550"/>
                    <a:pt x="3999" y="1536"/>
                    <a:pt x="3938" y="1536"/>
                  </a:cubicBezTo>
                  <a:cubicBezTo>
                    <a:pt x="3751" y="1536"/>
                    <a:pt x="3645" y="1672"/>
                    <a:pt x="3606" y="1919"/>
                  </a:cubicBezTo>
                  <a:cubicBezTo>
                    <a:pt x="3192" y="2086"/>
                    <a:pt x="2778" y="2257"/>
                    <a:pt x="2364" y="2430"/>
                  </a:cubicBezTo>
                  <a:cubicBezTo>
                    <a:pt x="2026" y="2472"/>
                    <a:pt x="1687" y="2515"/>
                    <a:pt x="1349" y="2564"/>
                  </a:cubicBezTo>
                  <a:cubicBezTo>
                    <a:pt x="1247" y="2703"/>
                    <a:pt x="1156" y="2849"/>
                    <a:pt x="1080" y="2983"/>
                  </a:cubicBezTo>
                  <a:cubicBezTo>
                    <a:pt x="1042" y="3042"/>
                    <a:pt x="1010" y="3095"/>
                    <a:pt x="973" y="3149"/>
                  </a:cubicBezTo>
                  <a:cubicBezTo>
                    <a:pt x="968" y="3160"/>
                    <a:pt x="962" y="3171"/>
                    <a:pt x="957" y="3182"/>
                  </a:cubicBezTo>
                  <a:cubicBezTo>
                    <a:pt x="1107" y="3268"/>
                    <a:pt x="1188" y="3434"/>
                    <a:pt x="1209" y="3714"/>
                  </a:cubicBezTo>
                  <a:cubicBezTo>
                    <a:pt x="1215" y="3714"/>
                    <a:pt x="1220" y="3714"/>
                    <a:pt x="1225" y="3719"/>
                  </a:cubicBezTo>
                  <a:cubicBezTo>
                    <a:pt x="1220" y="3724"/>
                    <a:pt x="1215" y="3730"/>
                    <a:pt x="1209" y="3735"/>
                  </a:cubicBezTo>
                  <a:lnTo>
                    <a:pt x="1209" y="3714"/>
                  </a:lnTo>
                  <a:cubicBezTo>
                    <a:pt x="1135" y="3686"/>
                    <a:pt x="1069" y="3672"/>
                    <a:pt x="1010" y="3672"/>
                  </a:cubicBezTo>
                  <a:cubicBezTo>
                    <a:pt x="845" y="3672"/>
                    <a:pt x="735" y="3780"/>
                    <a:pt x="672" y="3982"/>
                  </a:cubicBezTo>
                  <a:cubicBezTo>
                    <a:pt x="683" y="3982"/>
                    <a:pt x="688" y="3977"/>
                    <a:pt x="693" y="3977"/>
                  </a:cubicBezTo>
                  <a:lnTo>
                    <a:pt x="693" y="3977"/>
                  </a:lnTo>
                  <a:lnTo>
                    <a:pt x="667" y="4004"/>
                  </a:lnTo>
                  <a:cubicBezTo>
                    <a:pt x="672" y="3993"/>
                    <a:pt x="672" y="3987"/>
                    <a:pt x="672" y="3982"/>
                  </a:cubicBezTo>
                  <a:lnTo>
                    <a:pt x="672" y="3982"/>
                  </a:lnTo>
                  <a:cubicBezTo>
                    <a:pt x="415" y="4074"/>
                    <a:pt x="409" y="4299"/>
                    <a:pt x="403" y="4520"/>
                  </a:cubicBezTo>
                  <a:cubicBezTo>
                    <a:pt x="415" y="4513"/>
                    <a:pt x="420" y="4513"/>
                    <a:pt x="425" y="4508"/>
                  </a:cubicBezTo>
                  <a:lnTo>
                    <a:pt x="425" y="4508"/>
                  </a:lnTo>
                  <a:lnTo>
                    <a:pt x="403" y="4541"/>
                  </a:lnTo>
                  <a:lnTo>
                    <a:pt x="403" y="4520"/>
                  </a:lnTo>
                  <a:lnTo>
                    <a:pt x="403" y="4520"/>
                  </a:lnTo>
                  <a:cubicBezTo>
                    <a:pt x="119" y="4697"/>
                    <a:pt x="1" y="4874"/>
                    <a:pt x="409" y="5051"/>
                  </a:cubicBezTo>
                  <a:cubicBezTo>
                    <a:pt x="409" y="5046"/>
                    <a:pt x="403" y="5041"/>
                    <a:pt x="403" y="5036"/>
                  </a:cubicBezTo>
                  <a:lnTo>
                    <a:pt x="403" y="5036"/>
                  </a:lnTo>
                  <a:lnTo>
                    <a:pt x="425" y="5056"/>
                  </a:lnTo>
                  <a:cubicBezTo>
                    <a:pt x="420" y="5056"/>
                    <a:pt x="415" y="5051"/>
                    <a:pt x="409" y="5051"/>
                  </a:cubicBezTo>
                  <a:lnTo>
                    <a:pt x="409" y="5051"/>
                  </a:lnTo>
                  <a:cubicBezTo>
                    <a:pt x="430" y="5384"/>
                    <a:pt x="645" y="5524"/>
                    <a:pt x="941" y="5584"/>
                  </a:cubicBezTo>
                  <a:cubicBezTo>
                    <a:pt x="935" y="5577"/>
                    <a:pt x="935" y="5577"/>
                    <a:pt x="930" y="5567"/>
                  </a:cubicBezTo>
                  <a:lnTo>
                    <a:pt x="930" y="5567"/>
                  </a:lnTo>
                  <a:lnTo>
                    <a:pt x="961" y="5593"/>
                  </a:lnTo>
                  <a:lnTo>
                    <a:pt x="961" y="5593"/>
                  </a:lnTo>
                  <a:cubicBezTo>
                    <a:pt x="955" y="5589"/>
                    <a:pt x="945" y="5588"/>
                    <a:pt x="941" y="5584"/>
                  </a:cubicBezTo>
                  <a:lnTo>
                    <a:pt x="941" y="5584"/>
                  </a:lnTo>
                  <a:cubicBezTo>
                    <a:pt x="1032" y="5841"/>
                    <a:pt x="1253" y="5857"/>
                    <a:pt x="1473" y="5857"/>
                  </a:cubicBezTo>
                  <a:cubicBezTo>
                    <a:pt x="1473" y="5847"/>
                    <a:pt x="1467" y="5847"/>
                    <a:pt x="1467" y="5835"/>
                  </a:cubicBezTo>
                  <a:lnTo>
                    <a:pt x="1467" y="5835"/>
                  </a:lnTo>
                  <a:lnTo>
                    <a:pt x="1494" y="5857"/>
                  </a:lnTo>
                  <a:lnTo>
                    <a:pt x="1473" y="5857"/>
                  </a:lnTo>
                  <a:cubicBezTo>
                    <a:pt x="1570" y="6115"/>
                    <a:pt x="1795" y="6120"/>
                    <a:pt x="2021" y="6125"/>
                  </a:cubicBezTo>
                  <a:cubicBezTo>
                    <a:pt x="2015" y="6115"/>
                    <a:pt x="2004" y="6110"/>
                    <a:pt x="1999" y="6105"/>
                  </a:cubicBezTo>
                  <a:lnTo>
                    <a:pt x="1999" y="6105"/>
                  </a:lnTo>
                  <a:lnTo>
                    <a:pt x="2031" y="6125"/>
                  </a:lnTo>
                  <a:lnTo>
                    <a:pt x="2021" y="6125"/>
                  </a:lnTo>
                  <a:cubicBezTo>
                    <a:pt x="2493" y="6566"/>
                    <a:pt x="3095" y="6749"/>
                    <a:pt x="3691" y="6931"/>
                  </a:cubicBezTo>
                  <a:cubicBezTo>
                    <a:pt x="3901" y="7087"/>
                    <a:pt x="4218" y="7228"/>
                    <a:pt x="4384" y="7394"/>
                  </a:cubicBezTo>
                  <a:cubicBezTo>
                    <a:pt x="4444" y="7447"/>
                    <a:pt x="4481" y="7506"/>
                    <a:pt x="4491" y="7570"/>
                  </a:cubicBezTo>
                  <a:cubicBezTo>
                    <a:pt x="4717" y="8812"/>
                    <a:pt x="5716" y="9381"/>
                    <a:pt x="6527" y="10122"/>
                  </a:cubicBezTo>
                  <a:cubicBezTo>
                    <a:pt x="6603" y="10424"/>
                    <a:pt x="6797" y="10606"/>
                    <a:pt x="7097" y="10665"/>
                  </a:cubicBezTo>
                  <a:cubicBezTo>
                    <a:pt x="7096" y="10663"/>
                    <a:pt x="7095" y="10661"/>
                    <a:pt x="7093" y="10659"/>
                  </a:cubicBezTo>
                  <a:lnTo>
                    <a:pt x="7093" y="10659"/>
                  </a:lnTo>
                  <a:lnTo>
                    <a:pt x="7102" y="10665"/>
                  </a:lnTo>
                  <a:lnTo>
                    <a:pt x="7097" y="10665"/>
                  </a:lnTo>
                  <a:cubicBezTo>
                    <a:pt x="7178" y="10746"/>
                    <a:pt x="7258" y="10826"/>
                    <a:pt x="7345" y="10907"/>
                  </a:cubicBezTo>
                  <a:lnTo>
                    <a:pt x="7339" y="10907"/>
                  </a:lnTo>
                  <a:cubicBezTo>
                    <a:pt x="7433" y="11086"/>
                    <a:pt x="7540" y="11228"/>
                    <a:pt x="7720" y="11228"/>
                  </a:cubicBezTo>
                  <a:cubicBezTo>
                    <a:pt x="7767" y="11228"/>
                    <a:pt x="7818" y="11218"/>
                    <a:pt x="7876" y="11197"/>
                  </a:cubicBezTo>
                  <a:lnTo>
                    <a:pt x="7876" y="11197"/>
                  </a:lnTo>
                  <a:cubicBezTo>
                    <a:pt x="7837" y="11406"/>
                    <a:pt x="7939" y="11467"/>
                    <a:pt x="8107" y="11467"/>
                  </a:cubicBezTo>
                  <a:cubicBezTo>
                    <a:pt x="8121" y="11467"/>
                    <a:pt x="8136" y="11466"/>
                    <a:pt x="8150" y="11466"/>
                  </a:cubicBezTo>
                  <a:cubicBezTo>
                    <a:pt x="8150" y="11455"/>
                    <a:pt x="8150" y="11450"/>
                    <a:pt x="8145" y="11438"/>
                  </a:cubicBezTo>
                  <a:lnTo>
                    <a:pt x="8145" y="11438"/>
                  </a:lnTo>
                  <a:lnTo>
                    <a:pt x="8171" y="11466"/>
                  </a:lnTo>
                  <a:lnTo>
                    <a:pt x="8150" y="11466"/>
                  </a:lnTo>
                  <a:cubicBezTo>
                    <a:pt x="8295" y="12041"/>
                    <a:pt x="8827" y="11944"/>
                    <a:pt x="9235" y="12051"/>
                  </a:cubicBezTo>
                  <a:cubicBezTo>
                    <a:pt x="9606" y="12443"/>
                    <a:pt x="9842" y="12933"/>
                    <a:pt x="10144" y="13372"/>
                  </a:cubicBezTo>
                  <a:cubicBezTo>
                    <a:pt x="10326" y="13635"/>
                    <a:pt x="10531" y="13883"/>
                    <a:pt x="10804" y="14076"/>
                  </a:cubicBezTo>
                  <a:cubicBezTo>
                    <a:pt x="10879" y="14481"/>
                    <a:pt x="11102" y="14676"/>
                    <a:pt x="11460" y="14676"/>
                  </a:cubicBezTo>
                  <a:cubicBezTo>
                    <a:pt x="11516" y="14676"/>
                    <a:pt x="11575" y="14671"/>
                    <a:pt x="11637" y="14662"/>
                  </a:cubicBezTo>
                  <a:cubicBezTo>
                    <a:pt x="11632" y="14657"/>
                    <a:pt x="11627" y="14651"/>
                    <a:pt x="11620" y="14646"/>
                  </a:cubicBezTo>
                  <a:lnTo>
                    <a:pt x="11620" y="14646"/>
                  </a:lnTo>
                  <a:lnTo>
                    <a:pt x="11632" y="14651"/>
                  </a:lnTo>
                  <a:cubicBezTo>
                    <a:pt x="11637" y="14657"/>
                    <a:pt x="11642" y="14662"/>
                    <a:pt x="11642" y="14662"/>
                  </a:cubicBezTo>
                  <a:lnTo>
                    <a:pt x="11637" y="14662"/>
                  </a:lnTo>
                  <a:cubicBezTo>
                    <a:pt x="12158" y="15205"/>
                    <a:pt x="12217" y="16204"/>
                    <a:pt x="13221" y="16263"/>
                  </a:cubicBezTo>
                  <a:lnTo>
                    <a:pt x="13221" y="16253"/>
                  </a:lnTo>
                  <a:lnTo>
                    <a:pt x="13227" y="16253"/>
                  </a:lnTo>
                  <a:cubicBezTo>
                    <a:pt x="13227" y="16258"/>
                    <a:pt x="13232" y="16258"/>
                    <a:pt x="13232" y="16263"/>
                  </a:cubicBezTo>
                  <a:lnTo>
                    <a:pt x="13221" y="16263"/>
                  </a:lnTo>
                  <a:cubicBezTo>
                    <a:pt x="13196" y="17312"/>
                    <a:pt x="13426" y="18140"/>
                    <a:pt x="14620" y="18140"/>
                  </a:cubicBezTo>
                  <a:cubicBezTo>
                    <a:pt x="14684" y="18140"/>
                    <a:pt x="14752" y="18138"/>
                    <a:pt x="14823" y="18133"/>
                  </a:cubicBezTo>
                  <a:lnTo>
                    <a:pt x="14823" y="18133"/>
                  </a:lnTo>
                  <a:cubicBezTo>
                    <a:pt x="14736" y="18460"/>
                    <a:pt x="14779" y="18740"/>
                    <a:pt x="15086" y="18933"/>
                  </a:cubicBezTo>
                  <a:lnTo>
                    <a:pt x="15086" y="18917"/>
                  </a:lnTo>
                  <a:lnTo>
                    <a:pt x="15108" y="18949"/>
                  </a:lnTo>
                  <a:cubicBezTo>
                    <a:pt x="15101" y="18944"/>
                    <a:pt x="15096" y="18938"/>
                    <a:pt x="15086" y="18933"/>
                  </a:cubicBezTo>
                  <a:lnTo>
                    <a:pt x="15086" y="18933"/>
                  </a:lnTo>
                  <a:cubicBezTo>
                    <a:pt x="15054" y="19534"/>
                    <a:pt x="15220" y="20099"/>
                    <a:pt x="15445" y="20647"/>
                  </a:cubicBezTo>
                  <a:lnTo>
                    <a:pt x="15445" y="20652"/>
                  </a:lnTo>
                  <a:cubicBezTo>
                    <a:pt x="15676" y="20786"/>
                    <a:pt x="15907" y="20927"/>
                    <a:pt x="16133" y="21066"/>
                  </a:cubicBezTo>
                  <a:cubicBezTo>
                    <a:pt x="16149" y="21076"/>
                    <a:pt x="16171" y="21088"/>
                    <a:pt x="16187" y="21098"/>
                  </a:cubicBezTo>
                  <a:cubicBezTo>
                    <a:pt x="16259" y="21284"/>
                    <a:pt x="16391" y="21319"/>
                    <a:pt x="16526" y="21319"/>
                  </a:cubicBezTo>
                  <a:cubicBezTo>
                    <a:pt x="16605" y="21319"/>
                    <a:pt x="16684" y="21307"/>
                    <a:pt x="16753" y="21307"/>
                  </a:cubicBezTo>
                  <a:cubicBezTo>
                    <a:pt x="16814" y="21307"/>
                    <a:pt x="16866" y="21316"/>
                    <a:pt x="16901" y="21351"/>
                  </a:cubicBezTo>
                  <a:cubicBezTo>
                    <a:pt x="16881" y="21398"/>
                    <a:pt x="16859" y="21447"/>
                    <a:pt x="16837" y="21495"/>
                  </a:cubicBezTo>
                  <a:cubicBezTo>
                    <a:pt x="17057" y="21404"/>
                    <a:pt x="17235" y="21270"/>
                    <a:pt x="17379" y="21114"/>
                  </a:cubicBezTo>
                  <a:cubicBezTo>
                    <a:pt x="17632" y="20840"/>
                    <a:pt x="17788" y="20508"/>
                    <a:pt x="17912" y="20238"/>
                  </a:cubicBezTo>
                  <a:cubicBezTo>
                    <a:pt x="17982" y="20089"/>
                    <a:pt x="18046" y="19943"/>
                    <a:pt x="18116" y="19831"/>
                  </a:cubicBezTo>
                  <a:cubicBezTo>
                    <a:pt x="18277" y="19578"/>
                    <a:pt x="18406" y="19308"/>
                    <a:pt x="18535" y="19051"/>
                  </a:cubicBezTo>
                  <a:cubicBezTo>
                    <a:pt x="18793" y="18530"/>
                    <a:pt x="19034" y="18036"/>
                    <a:pt x="19415" y="17832"/>
                  </a:cubicBezTo>
                  <a:cubicBezTo>
                    <a:pt x="21097" y="16930"/>
                    <a:pt x="22296" y="15559"/>
                    <a:pt x="23450" y="14238"/>
                  </a:cubicBezTo>
                  <a:cubicBezTo>
                    <a:pt x="24074" y="13523"/>
                    <a:pt x="24724" y="12782"/>
                    <a:pt x="25427" y="12148"/>
                  </a:cubicBezTo>
                  <a:cubicBezTo>
                    <a:pt x="25787" y="11820"/>
                    <a:pt x="25777" y="11418"/>
                    <a:pt x="25770" y="11175"/>
                  </a:cubicBezTo>
                  <a:cubicBezTo>
                    <a:pt x="25770" y="11128"/>
                    <a:pt x="25765" y="11084"/>
                    <a:pt x="25770" y="11041"/>
                  </a:cubicBezTo>
                  <a:cubicBezTo>
                    <a:pt x="25879" y="9187"/>
                    <a:pt x="26507" y="7990"/>
                    <a:pt x="27748" y="7265"/>
                  </a:cubicBezTo>
                  <a:cubicBezTo>
                    <a:pt x="28044" y="7087"/>
                    <a:pt x="28188" y="6894"/>
                    <a:pt x="28247" y="6705"/>
                  </a:cubicBezTo>
                  <a:cubicBezTo>
                    <a:pt x="28252" y="6690"/>
                    <a:pt x="28247" y="6668"/>
                    <a:pt x="28252" y="6652"/>
                  </a:cubicBezTo>
                  <a:lnTo>
                    <a:pt x="28259" y="6647"/>
                  </a:lnTo>
                  <a:cubicBezTo>
                    <a:pt x="28452" y="6539"/>
                    <a:pt x="28468" y="6281"/>
                    <a:pt x="28328" y="6125"/>
                  </a:cubicBezTo>
                  <a:cubicBezTo>
                    <a:pt x="27969" y="5733"/>
                    <a:pt x="27479" y="5519"/>
                    <a:pt x="27049" y="5202"/>
                  </a:cubicBezTo>
                  <a:cubicBezTo>
                    <a:pt x="26201" y="4573"/>
                    <a:pt x="25373" y="3913"/>
                    <a:pt x="24488" y="3327"/>
                  </a:cubicBezTo>
                  <a:cubicBezTo>
                    <a:pt x="23385" y="2601"/>
                    <a:pt x="22107" y="1490"/>
                    <a:pt x="20866" y="1044"/>
                  </a:cubicBezTo>
                  <a:cubicBezTo>
                    <a:pt x="20831" y="1032"/>
                    <a:pt x="20799" y="1027"/>
                    <a:pt x="20768" y="1027"/>
                  </a:cubicBezTo>
                  <a:cubicBezTo>
                    <a:pt x="20741" y="1027"/>
                    <a:pt x="20717" y="1031"/>
                    <a:pt x="20694" y="1039"/>
                  </a:cubicBezTo>
                  <a:cubicBezTo>
                    <a:pt x="20676" y="1037"/>
                    <a:pt x="20657" y="1036"/>
                    <a:pt x="20637" y="1036"/>
                  </a:cubicBezTo>
                  <a:cubicBezTo>
                    <a:pt x="20323" y="1036"/>
                    <a:pt x="19965" y="1272"/>
                    <a:pt x="19641" y="1312"/>
                  </a:cubicBezTo>
                  <a:cubicBezTo>
                    <a:pt x="19400" y="1361"/>
                    <a:pt x="19163" y="1451"/>
                    <a:pt x="18932" y="1548"/>
                  </a:cubicBezTo>
                  <a:cubicBezTo>
                    <a:pt x="18793" y="1607"/>
                    <a:pt x="18653" y="1667"/>
                    <a:pt x="18513" y="1721"/>
                  </a:cubicBezTo>
                  <a:cubicBezTo>
                    <a:pt x="18421" y="1758"/>
                    <a:pt x="18325" y="1790"/>
                    <a:pt x="18228" y="1823"/>
                  </a:cubicBezTo>
                  <a:cubicBezTo>
                    <a:pt x="18051" y="1877"/>
                    <a:pt x="17868" y="1911"/>
                    <a:pt x="17677" y="1911"/>
                  </a:cubicBezTo>
                  <a:cubicBezTo>
                    <a:pt x="17562" y="1911"/>
                    <a:pt x="17443" y="1899"/>
                    <a:pt x="17320" y="1870"/>
                  </a:cubicBezTo>
                  <a:cubicBezTo>
                    <a:pt x="17186" y="1752"/>
                    <a:pt x="17043" y="1711"/>
                    <a:pt x="16901" y="1711"/>
                  </a:cubicBezTo>
                  <a:cubicBezTo>
                    <a:pt x="16702" y="1711"/>
                    <a:pt x="16503" y="1790"/>
                    <a:pt x="16321" y="1850"/>
                  </a:cubicBezTo>
                  <a:cubicBezTo>
                    <a:pt x="16064" y="1932"/>
                    <a:pt x="15825" y="1975"/>
                    <a:pt x="15603" y="1975"/>
                  </a:cubicBezTo>
                  <a:cubicBezTo>
                    <a:pt x="15362" y="1975"/>
                    <a:pt x="15142" y="1924"/>
                    <a:pt x="14947" y="1818"/>
                  </a:cubicBezTo>
                  <a:lnTo>
                    <a:pt x="14908" y="1818"/>
                  </a:lnTo>
                  <a:cubicBezTo>
                    <a:pt x="14903" y="1806"/>
                    <a:pt x="14903" y="1801"/>
                    <a:pt x="14898" y="1790"/>
                  </a:cubicBezTo>
                  <a:cubicBezTo>
                    <a:pt x="14656" y="1645"/>
                    <a:pt x="14451" y="1409"/>
                    <a:pt x="14290" y="1071"/>
                  </a:cubicBezTo>
                  <a:cubicBezTo>
                    <a:pt x="14290" y="1071"/>
                    <a:pt x="14295" y="1065"/>
                    <a:pt x="14302" y="1065"/>
                  </a:cubicBezTo>
                  <a:cubicBezTo>
                    <a:pt x="14218" y="871"/>
                    <a:pt x="14101" y="746"/>
                    <a:pt x="13923" y="746"/>
                  </a:cubicBezTo>
                  <a:cubicBezTo>
                    <a:pt x="13870" y="746"/>
                    <a:pt x="13812" y="757"/>
                    <a:pt x="13747" y="781"/>
                  </a:cubicBezTo>
                  <a:cubicBezTo>
                    <a:pt x="13754" y="786"/>
                    <a:pt x="13754" y="791"/>
                    <a:pt x="13759" y="802"/>
                  </a:cubicBezTo>
                  <a:lnTo>
                    <a:pt x="13737" y="781"/>
                  </a:lnTo>
                  <a:lnTo>
                    <a:pt x="13747" y="781"/>
                  </a:lnTo>
                  <a:cubicBezTo>
                    <a:pt x="13554" y="479"/>
                    <a:pt x="13345" y="281"/>
                    <a:pt x="13125" y="157"/>
                  </a:cubicBezTo>
                  <a:cubicBezTo>
                    <a:pt x="13001" y="141"/>
                    <a:pt x="12884" y="125"/>
                    <a:pt x="12765" y="114"/>
                  </a:cubicBezTo>
                  <a:cubicBezTo>
                    <a:pt x="12490" y="77"/>
                    <a:pt x="12222" y="45"/>
                    <a:pt x="11964" y="1"/>
                  </a:cubicBezTo>
                  <a:close/>
                </a:path>
              </a:pathLst>
            </a:custGeom>
            <a:solidFill>
              <a:schemeClr val="accent4"/>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SC</a:t>
              </a:r>
              <a:endParaRPr kumimoji="0" sz="10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75" name="Google Shape;1273;p29">
              <a:extLst>
                <a:ext uri="{FF2B5EF4-FFF2-40B4-BE49-F238E27FC236}">
                  <a16:creationId xmlns:a16="http://schemas.microsoft.com/office/drawing/2014/main" id="{622B79B1-C6AA-D62A-AA91-EF6CF804C322}"/>
                </a:ext>
              </a:extLst>
            </p:cNvPr>
            <p:cNvSpPr/>
            <p:nvPr/>
          </p:nvSpPr>
          <p:spPr>
            <a:xfrm>
              <a:off x="6515750" y="2274000"/>
              <a:ext cx="212275" cy="434800"/>
            </a:xfrm>
            <a:custGeom>
              <a:avLst/>
              <a:gdLst/>
              <a:ahLst/>
              <a:cxnLst/>
              <a:rect l="l" t="t" r="r" b="b"/>
              <a:pathLst>
                <a:path w="8491" h="17392" extrusionOk="0">
                  <a:moveTo>
                    <a:pt x="1213" y="0"/>
                  </a:moveTo>
                  <a:cubicBezTo>
                    <a:pt x="617" y="0"/>
                    <a:pt x="1" y="488"/>
                    <a:pt x="202" y="1234"/>
                  </a:cubicBezTo>
                  <a:cubicBezTo>
                    <a:pt x="540" y="2491"/>
                    <a:pt x="1110" y="3599"/>
                    <a:pt x="1517" y="4834"/>
                  </a:cubicBezTo>
                  <a:cubicBezTo>
                    <a:pt x="1921" y="6037"/>
                    <a:pt x="1556" y="7552"/>
                    <a:pt x="1872" y="8841"/>
                  </a:cubicBezTo>
                  <a:cubicBezTo>
                    <a:pt x="2189" y="10147"/>
                    <a:pt x="1625" y="11426"/>
                    <a:pt x="1963" y="12758"/>
                  </a:cubicBezTo>
                  <a:cubicBezTo>
                    <a:pt x="2307" y="14107"/>
                    <a:pt x="2060" y="15342"/>
                    <a:pt x="2265" y="16680"/>
                  </a:cubicBezTo>
                  <a:cubicBezTo>
                    <a:pt x="2337" y="17159"/>
                    <a:pt x="2765" y="17392"/>
                    <a:pt x="3197" y="17392"/>
                  </a:cubicBezTo>
                  <a:cubicBezTo>
                    <a:pt x="3468" y="17392"/>
                    <a:pt x="3741" y="17300"/>
                    <a:pt x="3929" y="17120"/>
                  </a:cubicBezTo>
                  <a:cubicBezTo>
                    <a:pt x="6686" y="14466"/>
                    <a:pt x="8405" y="8820"/>
                    <a:pt x="8479" y="5114"/>
                  </a:cubicBezTo>
                  <a:cubicBezTo>
                    <a:pt x="8491" y="4539"/>
                    <a:pt x="7962" y="4114"/>
                    <a:pt x="7442" y="4114"/>
                  </a:cubicBezTo>
                  <a:cubicBezTo>
                    <a:pt x="7203" y="4114"/>
                    <a:pt x="6965" y="4204"/>
                    <a:pt x="6783" y="4410"/>
                  </a:cubicBezTo>
                  <a:cubicBezTo>
                    <a:pt x="6723" y="4416"/>
                    <a:pt x="6664" y="4420"/>
                    <a:pt x="6606" y="4420"/>
                  </a:cubicBezTo>
                  <a:cubicBezTo>
                    <a:pt x="6336" y="4420"/>
                    <a:pt x="6089" y="4349"/>
                    <a:pt x="5863" y="4216"/>
                  </a:cubicBezTo>
                  <a:cubicBezTo>
                    <a:pt x="5783" y="4071"/>
                    <a:pt x="5675" y="3931"/>
                    <a:pt x="5504" y="3819"/>
                  </a:cubicBezTo>
                  <a:cubicBezTo>
                    <a:pt x="5391" y="3748"/>
                    <a:pt x="5278" y="3673"/>
                    <a:pt x="5171" y="3604"/>
                  </a:cubicBezTo>
                  <a:cubicBezTo>
                    <a:pt x="5003" y="3494"/>
                    <a:pt x="4834" y="3447"/>
                    <a:pt x="4671" y="3447"/>
                  </a:cubicBezTo>
                  <a:cubicBezTo>
                    <a:pt x="4547" y="3447"/>
                    <a:pt x="4428" y="3474"/>
                    <a:pt x="4316" y="3523"/>
                  </a:cubicBezTo>
                  <a:cubicBezTo>
                    <a:pt x="4038" y="3373"/>
                    <a:pt x="3753" y="3142"/>
                    <a:pt x="3490" y="2873"/>
                  </a:cubicBezTo>
                  <a:cubicBezTo>
                    <a:pt x="3135" y="2287"/>
                    <a:pt x="2721" y="1718"/>
                    <a:pt x="2265" y="1170"/>
                  </a:cubicBezTo>
                  <a:cubicBezTo>
                    <a:pt x="2216" y="1015"/>
                    <a:pt x="2168" y="864"/>
                    <a:pt x="2124" y="708"/>
                  </a:cubicBezTo>
                  <a:cubicBezTo>
                    <a:pt x="1992" y="214"/>
                    <a:pt x="1607" y="0"/>
                    <a:pt x="1213" y="0"/>
                  </a:cubicBezTo>
                  <a:close/>
                </a:path>
              </a:pathLst>
            </a:custGeom>
            <a:solidFill>
              <a:srgbClr val="F26851"/>
            </a:solidFill>
            <a:ln w="9525" cap="flat" cmpd="sng">
              <a:solidFill>
                <a:schemeClr val="bg1"/>
              </a:solidFill>
              <a:prstDash val="solid"/>
              <a:round/>
              <a:headEnd type="none" w="sm" len="sm"/>
              <a:tailEnd type="none" w="sm" len="sm"/>
            </a:ln>
          </p:spPr>
          <p:txBody>
            <a:bodyPr spcFirstLastPara="1" wrap="square" lIns="0" tIns="91425" rIns="0"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rPr>
                <a:t>DE</a:t>
              </a:r>
              <a:endParaRPr kumimoji="0" sz="600" b="0" i="0" u="none" strike="noStrike" kern="1200" cap="none" spc="0" normalizeH="0" baseline="0" noProof="0" dirty="0">
                <a:ln>
                  <a:noFill/>
                </a:ln>
                <a:solidFill>
                  <a:schemeClr val="bg1"/>
                </a:solidFill>
                <a:effectLst/>
                <a:uLnTx/>
                <a:uFillTx/>
                <a:latin typeface="Segoe UI" panose="020B0502040204020203" pitchFamily="34" charset="0"/>
                <a:ea typeface="+mn-ea"/>
                <a:cs typeface="+mn-cs"/>
              </a:endParaRPr>
            </a:p>
          </p:txBody>
        </p:sp>
      </p:grpSp>
      <p:sp>
        <p:nvSpPr>
          <p:cNvPr id="276" name="Google Shape;5331;p39">
            <a:extLst>
              <a:ext uri="{FF2B5EF4-FFF2-40B4-BE49-F238E27FC236}">
                <a16:creationId xmlns:a16="http://schemas.microsoft.com/office/drawing/2014/main" id="{C1BE03C9-50E4-57D7-F857-BF36C1203F08}"/>
              </a:ext>
            </a:extLst>
          </p:cNvPr>
          <p:cNvSpPr/>
          <p:nvPr/>
        </p:nvSpPr>
        <p:spPr>
          <a:xfrm>
            <a:off x="6356617" y="4063947"/>
            <a:ext cx="1478870" cy="1220845"/>
          </a:xfrm>
          <a:custGeom>
            <a:avLst/>
            <a:gdLst/>
            <a:ahLst/>
            <a:cxnLst/>
            <a:rect l="l" t="t" r="r" b="b"/>
            <a:pathLst>
              <a:path w="19212" h="15860" extrusionOk="0">
                <a:moveTo>
                  <a:pt x="7877" y="1"/>
                </a:moveTo>
                <a:cubicBezTo>
                  <a:pt x="7844" y="1"/>
                  <a:pt x="7814" y="16"/>
                  <a:pt x="7799" y="61"/>
                </a:cubicBezTo>
                <a:cubicBezTo>
                  <a:pt x="7729" y="183"/>
                  <a:pt x="7648" y="221"/>
                  <a:pt x="7563" y="221"/>
                </a:cubicBezTo>
                <a:cubicBezTo>
                  <a:pt x="7463" y="221"/>
                  <a:pt x="7359" y="168"/>
                  <a:pt x="7267" y="137"/>
                </a:cubicBezTo>
                <a:cubicBezTo>
                  <a:pt x="7226" y="127"/>
                  <a:pt x="7177" y="123"/>
                  <a:pt x="7122" y="123"/>
                </a:cubicBezTo>
                <a:cubicBezTo>
                  <a:pt x="6638" y="123"/>
                  <a:pt x="5670" y="478"/>
                  <a:pt x="5517" y="803"/>
                </a:cubicBezTo>
                <a:cubicBezTo>
                  <a:pt x="5328" y="1195"/>
                  <a:pt x="5090" y="1404"/>
                  <a:pt x="4778" y="1404"/>
                </a:cubicBezTo>
                <a:cubicBezTo>
                  <a:pt x="4651" y="1404"/>
                  <a:pt x="4511" y="1369"/>
                  <a:pt x="4356" y="1297"/>
                </a:cubicBezTo>
                <a:cubicBezTo>
                  <a:pt x="4311" y="1278"/>
                  <a:pt x="4271" y="1269"/>
                  <a:pt x="4237" y="1269"/>
                </a:cubicBezTo>
                <a:cubicBezTo>
                  <a:pt x="4069" y="1269"/>
                  <a:pt x="4013" y="1466"/>
                  <a:pt x="3919" y="1545"/>
                </a:cubicBezTo>
                <a:cubicBezTo>
                  <a:pt x="3786" y="1678"/>
                  <a:pt x="3900" y="1754"/>
                  <a:pt x="3976" y="1849"/>
                </a:cubicBezTo>
                <a:cubicBezTo>
                  <a:pt x="4204" y="2115"/>
                  <a:pt x="4261" y="2439"/>
                  <a:pt x="4356" y="2781"/>
                </a:cubicBezTo>
                <a:cubicBezTo>
                  <a:pt x="4394" y="2914"/>
                  <a:pt x="4394" y="3142"/>
                  <a:pt x="4566" y="3161"/>
                </a:cubicBezTo>
                <a:cubicBezTo>
                  <a:pt x="5079" y="3295"/>
                  <a:pt x="4984" y="3656"/>
                  <a:pt x="4889" y="4017"/>
                </a:cubicBezTo>
                <a:cubicBezTo>
                  <a:pt x="4858" y="4125"/>
                  <a:pt x="4902" y="4369"/>
                  <a:pt x="4730" y="4369"/>
                </a:cubicBezTo>
                <a:cubicBezTo>
                  <a:pt x="4689" y="4369"/>
                  <a:pt x="4635" y="4355"/>
                  <a:pt x="4566" y="4322"/>
                </a:cubicBezTo>
                <a:cubicBezTo>
                  <a:pt x="4356" y="4227"/>
                  <a:pt x="3881" y="4398"/>
                  <a:pt x="4090" y="3865"/>
                </a:cubicBezTo>
                <a:cubicBezTo>
                  <a:pt x="4172" y="3670"/>
                  <a:pt x="4127" y="3572"/>
                  <a:pt x="3933" y="3572"/>
                </a:cubicBezTo>
                <a:cubicBezTo>
                  <a:pt x="3901" y="3572"/>
                  <a:pt x="3865" y="3574"/>
                  <a:pt x="3824" y="3580"/>
                </a:cubicBezTo>
                <a:cubicBezTo>
                  <a:pt x="3462" y="3656"/>
                  <a:pt x="3082" y="3713"/>
                  <a:pt x="2740" y="3751"/>
                </a:cubicBezTo>
                <a:cubicBezTo>
                  <a:pt x="2644" y="3770"/>
                  <a:pt x="2549" y="3827"/>
                  <a:pt x="2454" y="3865"/>
                </a:cubicBezTo>
                <a:lnTo>
                  <a:pt x="2683" y="5102"/>
                </a:lnTo>
                <a:cubicBezTo>
                  <a:pt x="2987" y="5444"/>
                  <a:pt x="3424" y="5577"/>
                  <a:pt x="3843" y="5729"/>
                </a:cubicBezTo>
                <a:cubicBezTo>
                  <a:pt x="3882" y="5743"/>
                  <a:pt x="3920" y="5749"/>
                  <a:pt x="3957" y="5749"/>
                </a:cubicBezTo>
                <a:cubicBezTo>
                  <a:pt x="4172" y="5749"/>
                  <a:pt x="4355" y="5544"/>
                  <a:pt x="4566" y="5463"/>
                </a:cubicBezTo>
                <a:cubicBezTo>
                  <a:pt x="4589" y="5451"/>
                  <a:pt x="4620" y="5424"/>
                  <a:pt x="4659" y="5424"/>
                </a:cubicBezTo>
                <a:cubicBezTo>
                  <a:pt x="4682" y="5424"/>
                  <a:pt x="4708" y="5434"/>
                  <a:pt x="4737" y="5463"/>
                </a:cubicBezTo>
                <a:cubicBezTo>
                  <a:pt x="4775" y="5748"/>
                  <a:pt x="4661" y="6015"/>
                  <a:pt x="4680" y="6281"/>
                </a:cubicBezTo>
                <a:cubicBezTo>
                  <a:pt x="4694" y="6535"/>
                  <a:pt x="4634" y="6674"/>
                  <a:pt x="4455" y="6674"/>
                </a:cubicBezTo>
                <a:cubicBezTo>
                  <a:pt x="4393" y="6674"/>
                  <a:pt x="4316" y="6657"/>
                  <a:pt x="4223" y="6623"/>
                </a:cubicBezTo>
                <a:cubicBezTo>
                  <a:pt x="4192" y="6612"/>
                  <a:pt x="4162" y="6606"/>
                  <a:pt x="4133" y="6606"/>
                </a:cubicBezTo>
                <a:cubicBezTo>
                  <a:pt x="4019" y="6606"/>
                  <a:pt x="3919" y="6688"/>
                  <a:pt x="3843" y="6794"/>
                </a:cubicBezTo>
                <a:cubicBezTo>
                  <a:pt x="3733" y="6954"/>
                  <a:pt x="3617" y="7030"/>
                  <a:pt x="3494" y="7030"/>
                </a:cubicBezTo>
                <a:cubicBezTo>
                  <a:pt x="3383" y="7030"/>
                  <a:pt x="3265" y="6969"/>
                  <a:pt x="3139" y="6851"/>
                </a:cubicBezTo>
                <a:cubicBezTo>
                  <a:pt x="3069" y="6770"/>
                  <a:pt x="2985" y="6682"/>
                  <a:pt x="2904" y="6682"/>
                </a:cubicBezTo>
                <a:cubicBezTo>
                  <a:pt x="2853" y="6682"/>
                  <a:pt x="2803" y="6717"/>
                  <a:pt x="2759" y="6813"/>
                </a:cubicBezTo>
                <a:cubicBezTo>
                  <a:pt x="2568" y="7175"/>
                  <a:pt x="2264" y="7365"/>
                  <a:pt x="1922" y="7517"/>
                </a:cubicBezTo>
                <a:cubicBezTo>
                  <a:pt x="1560" y="7669"/>
                  <a:pt x="1541" y="7898"/>
                  <a:pt x="1731" y="8183"/>
                </a:cubicBezTo>
                <a:cubicBezTo>
                  <a:pt x="1865" y="8373"/>
                  <a:pt x="1998" y="8582"/>
                  <a:pt x="1712" y="8773"/>
                </a:cubicBezTo>
                <a:cubicBezTo>
                  <a:pt x="1598" y="8849"/>
                  <a:pt x="1693" y="8944"/>
                  <a:pt x="1731" y="9001"/>
                </a:cubicBezTo>
                <a:cubicBezTo>
                  <a:pt x="1903" y="9381"/>
                  <a:pt x="2112" y="9724"/>
                  <a:pt x="2625" y="9743"/>
                </a:cubicBezTo>
                <a:cubicBezTo>
                  <a:pt x="2987" y="9762"/>
                  <a:pt x="3158" y="10199"/>
                  <a:pt x="2987" y="10503"/>
                </a:cubicBezTo>
                <a:cubicBezTo>
                  <a:pt x="2892" y="10694"/>
                  <a:pt x="2930" y="10865"/>
                  <a:pt x="2949" y="10998"/>
                </a:cubicBezTo>
                <a:cubicBezTo>
                  <a:pt x="2988" y="11020"/>
                  <a:pt x="3028" y="11029"/>
                  <a:pt x="3069" y="11029"/>
                </a:cubicBezTo>
                <a:cubicBezTo>
                  <a:pt x="3215" y="11029"/>
                  <a:pt x="3368" y="10916"/>
                  <a:pt x="3513" y="10916"/>
                </a:cubicBezTo>
                <a:cubicBezTo>
                  <a:pt x="3601" y="10916"/>
                  <a:pt x="3687" y="10958"/>
                  <a:pt x="3767" y="11093"/>
                </a:cubicBezTo>
                <a:cubicBezTo>
                  <a:pt x="3962" y="11462"/>
                  <a:pt x="4047" y="11593"/>
                  <a:pt x="4230" y="11593"/>
                </a:cubicBezTo>
                <a:cubicBezTo>
                  <a:pt x="4350" y="11593"/>
                  <a:pt x="4512" y="11537"/>
                  <a:pt x="4775" y="11454"/>
                </a:cubicBezTo>
                <a:cubicBezTo>
                  <a:pt x="4851" y="11435"/>
                  <a:pt x="4927" y="11416"/>
                  <a:pt x="5003" y="11416"/>
                </a:cubicBezTo>
                <a:cubicBezTo>
                  <a:pt x="5022" y="11416"/>
                  <a:pt x="5060" y="11378"/>
                  <a:pt x="5098" y="11378"/>
                </a:cubicBezTo>
                <a:cubicBezTo>
                  <a:pt x="5060" y="11416"/>
                  <a:pt x="5060" y="11435"/>
                  <a:pt x="5041" y="11454"/>
                </a:cubicBezTo>
                <a:cubicBezTo>
                  <a:pt x="4813" y="11797"/>
                  <a:pt x="4547" y="12120"/>
                  <a:pt x="4490" y="12558"/>
                </a:cubicBezTo>
                <a:cubicBezTo>
                  <a:pt x="4470" y="12710"/>
                  <a:pt x="4356" y="12767"/>
                  <a:pt x="4242" y="12843"/>
                </a:cubicBezTo>
                <a:cubicBezTo>
                  <a:pt x="3634" y="13128"/>
                  <a:pt x="3025" y="13338"/>
                  <a:pt x="2549" y="13832"/>
                </a:cubicBezTo>
                <a:cubicBezTo>
                  <a:pt x="2490" y="13892"/>
                  <a:pt x="2423" y="13921"/>
                  <a:pt x="2349" y="13921"/>
                </a:cubicBezTo>
                <a:cubicBezTo>
                  <a:pt x="2304" y="13921"/>
                  <a:pt x="2257" y="13911"/>
                  <a:pt x="2207" y="13889"/>
                </a:cubicBezTo>
                <a:cubicBezTo>
                  <a:pt x="2123" y="13828"/>
                  <a:pt x="2043" y="13804"/>
                  <a:pt x="1964" y="13804"/>
                </a:cubicBezTo>
                <a:cubicBezTo>
                  <a:pt x="1846" y="13804"/>
                  <a:pt x="1731" y="13859"/>
                  <a:pt x="1617" y="13927"/>
                </a:cubicBezTo>
                <a:cubicBezTo>
                  <a:pt x="1308" y="14106"/>
                  <a:pt x="985" y="14244"/>
                  <a:pt x="635" y="14244"/>
                </a:cubicBezTo>
                <a:cubicBezTo>
                  <a:pt x="577" y="14244"/>
                  <a:pt x="517" y="14240"/>
                  <a:pt x="457" y="14232"/>
                </a:cubicBezTo>
                <a:cubicBezTo>
                  <a:pt x="424" y="14228"/>
                  <a:pt x="391" y="14226"/>
                  <a:pt x="358" y="14226"/>
                </a:cubicBezTo>
                <a:cubicBezTo>
                  <a:pt x="204" y="14226"/>
                  <a:pt x="63" y="14275"/>
                  <a:pt x="1" y="14479"/>
                </a:cubicBezTo>
                <a:cubicBezTo>
                  <a:pt x="44" y="14485"/>
                  <a:pt x="87" y="14488"/>
                  <a:pt x="129" y="14488"/>
                </a:cubicBezTo>
                <a:cubicBezTo>
                  <a:pt x="342" y="14488"/>
                  <a:pt x="536" y="14419"/>
                  <a:pt x="742" y="14403"/>
                </a:cubicBezTo>
                <a:cubicBezTo>
                  <a:pt x="2949" y="14232"/>
                  <a:pt x="4889" y="13414"/>
                  <a:pt x="6639" y="11987"/>
                </a:cubicBezTo>
                <a:cubicBezTo>
                  <a:pt x="6943" y="11740"/>
                  <a:pt x="6791" y="11645"/>
                  <a:pt x="6449" y="11569"/>
                </a:cubicBezTo>
                <a:cubicBezTo>
                  <a:pt x="7267" y="10979"/>
                  <a:pt x="7894" y="10237"/>
                  <a:pt x="8826" y="9705"/>
                </a:cubicBezTo>
                <a:lnTo>
                  <a:pt x="8826" y="9705"/>
                </a:lnTo>
                <a:cubicBezTo>
                  <a:pt x="8674" y="10123"/>
                  <a:pt x="8674" y="10123"/>
                  <a:pt x="8522" y="10218"/>
                </a:cubicBezTo>
                <a:cubicBezTo>
                  <a:pt x="8465" y="10237"/>
                  <a:pt x="8408" y="10237"/>
                  <a:pt x="8389" y="10275"/>
                </a:cubicBezTo>
                <a:cubicBezTo>
                  <a:pt x="8084" y="10446"/>
                  <a:pt x="7989" y="10751"/>
                  <a:pt x="8103" y="11093"/>
                </a:cubicBezTo>
                <a:cubicBezTo>
                  <a:pt x="8161" y="11264"/>
                  <a:pt x="7818" y="11264"/>
                  <a:pt x="7913" y="11512"/>
                </a:cubicBezTo>
                <a:cubicBezTo>
                  <a:pt x="8408" y="11397"/>
                  <a:pt x="8864" y="11150"/>
                  <a:pt x="9340" y="11074"/>
                </a:cubicBezTo>
                <a:cubicBezTo>
                  <a:pt x="9492" y="11055"/>
                  <a:pt x="9568" y="10922"/>
                  <a:pt x="9568" y="10827"/>
                </a:cubicBezTo>
                <a:cubicBezTo>
                  <a:pt x="9546" y="10381"/>
                  <a:pt x="9713" y="10275"/>
                  <a:pt x="9936" y="10275"/>
                </a:cubicBezTo>
                <a:cubicBezTo>
                  <a:pt x="10093" y="10275"/>
                  <a:pt x="10278" y="10328"/>
                  <a:pt x="10443" y="10351"/>
                </a:cubicBezTo>
                <a:cubicBezTo>
                  <a:pt x="10747" y="10370"/>
                  <a:pt x="10938" y="10637"/>
                  <a:pt x="11147" y="10827"/>
                </a:cubicBezTo>
                <a:cubicBezTo>
                  <a:pt x="11389" y="11041"/>
                  <a:pt x="11632" y="11180"/>
                  <a:pt x="11922" y="11180"/>
                </a:cubicBezTo>
                <a:cubicBezTo>
                  <a:pt x="12019" y="11180"/>
                  <a:pt x="12122" y="11164"/>
                  <a:pt x="12231" y="11131"/>
                </a:cubicBezTo>
                <a:cubicBezTo>
                  <a:pt x="12279" y="11107"/>
                  <a:pt x="12330" y="11097"/>
                  <a:pt x="12384" y="11097"/>
                </a:cubicBezTo>
                <a:cubicBezTo>
                  <a:pt x="12460" y="11097"/>
                  <a:pt x="12542" y="11117"/>
                  <a:pt x="12630" y="11150"/>
                </a:cubicBezTo>
                <a:cubicBezTo>
                  <a:pt x="13410" y="11493"/>
                  <a:pt x="14171" y="11873"/>
                  <a:pt x="14856" y="12387"/>
                </a:cubicBezTo>
                <a:cubicBezTo>
                  <a:pt x="15179" y="12634"/>
                  <a:pt x="15388" y="12881"/>
                  <a:pt x="15560" y="13223"/>
                </a:cubicBezTo>
                <a:cubicBezTo>
                  <a:pt x="15997" y="14117"/>
                  <a:pt x="16720" y="14840"/>
                  <a:pt x="17405" y="15582"/>
                </a:cubicBezTo>
                <a:cubicBezTo>
                  <a:pt x="17602" y="15795"/>
                  <a:pt x="17806" y="15860"/>
                  <a:pt x="18014" y="15860"/>
                </a:cubicBezTo>
                <a:cubicBezTo>
                  <a:pt x="18288" y="15860"/>
                  <a:pt x="18569" y="15748"/>
                  <a:pt x="18850" y="15715"/>
                </a:cubicBezTo>
                <a:cubicBezTo>
                  <a:pt x="18945" y="15715"/>
                  <a:pt x="18983" y="15620"/>
                  <a:pt x="19002" y="15544"/>
                </a:cubicBezTo>
                <a:cubicBezTo>
                  <a:pt x="19212" y="15106"/>
                  <a:pt x="18945" y="14289"/>
                  <a:pt x="18432" y="14174"/>
                </a:cubicBezTo>
                <a:cubicBezTo>
                  <a:pt x="17956" y="14060"/>
                  <a:pt x="17671" y="13718"/>
                  <a:pt x="17386" y="13395"/>
                </a:cubicBezTo>
                <a:cubicBezTo>
                  <a:pt x="17043" y="12957"/>
                  <a:pt x="16758" y="12501"/>
                  <a:pt x="16454" y="12082"/>
                </a:cubicBezTo>
                <a:cubicBezTo>
                  <a:pt x="16181" y="11683"/>
                  <a:pt x="16058" y="11504"/>
                  <a:pt x="15879" y="11504"/>
                </a:cubicBezTo>
                <a:cubicBezTo>
                  <a:pt x="15733" y="11504"/>
                  <a:pt x="15549" y="11622"/>
                  <a:pt x="15217" y="11835"/>
                </a:cubicBezTo>
                <a:cubicBezTo>
                  <a:pt x="15113" y="11900"/>
                  <a:pt x="15008" y="12028"/>
                  <a:pt x="14879" y="12028"/>
                </a:cubicBezTo>
                <a:cubicBezTo>
                  <a:pt x="14820" y="12028"/>
                  <a:pt x="14756" y="12002"/>
                  <a:pt x="14685" y="11930"/>
                </a:cubicBezTo>
                <a:cubicBezTo>
                  <a:pt x="14456" y="11721"/>
                  <a:pt x="14114" y="11550"/>
                  <a:pt x="14000" y="11264"/>
                </a:cubicBezTo>
                <a:cubicBezTo>
                  <a:pt x="13897" y="11025"/>
                  <a:pt x="13767" y="10956"/>
                  <a:pt x="13618" y="10956"/>
                </a:cubicBezTo>
                <a:cubicBezTo>
                  <a:pt x="13518" y="10956"/>
                  <a:pt x="13410" y="10987"/>
                  <a:pt x="13296" y="11017"/>
                </a:cubicBezTo>
                <a:cubicBezTo>
                  <a:pt x="13240" y="11026"/>
                  <a:pt x="13190" y="11031"/>
                  <a:pt x="13147" y="11031"/>
                </a:cubicBezTo>
                <a:cubicBezTo>
                  <a:pt x="13003" y="11031"/>
                  <a:pt x="12935" y="10966"/>
                  <a:pt x="12935" y="10732"/>
                </a:cubicBezTo>
                <a:cubicBezTo>
                  <a:pt x="12954" y="9648"/>
                  <a:pt x="12935" y="8601"/>
                  <a:pt x="12973" y="7536"/>
                </a:cubicBezTo>
                <a:cubicBezTo>
                  <a:pt x="13068" y="5786"/>
                  <a:pt x="13011" y="4017"/>
                  <a:pt x="12840" y="2267"/>
                </a:cubicBezTo>
                <a:cubicBezTo>
                  <a:pt x="12822" y="2004"/>
                  <a:pt x="12301" y="1496"/>
                  <a:pt x="12057" y="1496"/>
                </a:cubicBezTo>
                <a:cubicBezTo>
                  <a:pt x="12037" y="1496"/>
                  <a:pt x="12019" y="1499"/>
                  <a:pt x="12003" y="1507"/>
                </a:cubicBezTo>
                <a:cubicBezTo>
                  <a:pt x="11884" y="1554"/>
                  <a:pt x="11775" y="1574"/>
                  <a:pt x="11670" y="1574"/>
                </a:cubicBezTo>
                <a:cubicBezTo>
                  <a:pt x="11440" y="1574"/>
                  <a:pt x="11236" y="1478"/>
                  <a:pt x="11014" y="1373"/>
                </a:cubicBezTo>
                <a:cubicBezTo>
                  <a:pt x="10609" y="1205"/>
                  <a:pt x="10249" y="961"/>
                  <a:pt x="9801" y="961"/>
                </a:cubicBezTo>
                <a:cubicBezTo>
                  <a:pt x="9744" y="961"/>
                  <a:pt x="9686" y="965"/>
                  <a:pt x="9625" y="974"/>
                </a:cubicBezTo>
                <a:cubicBezTo>
                  <a:pt x="9613" y="975"/>
                  <a:pt x="9601" y="976"/>
                  <a:pt x="9588" y="976"/>
                </a:cubicBezTo>
                <a:cubicBezTo>
                  <a:pt x="9411" y="976"/>
                  <a:pt x="9239" y="850"/>
                  <a:pt x="9150" y="708"/>
                </a:cubicBezTo>
                <a:cubicBezTo>
                  <a:pt x="8864" y="327"/>
                  <a:pt x="8389" y="289"/>
                  <a:pt x="8027" y="61"/>
                </a:cubicBezTo>
                <a:cubicBezTo>
                  <a:pt x="7993" y="38"/>
                  <a:pt x="7930" y="1"/>
                  <a:pt x="7877" y="1"/>
                </a:cubicBezTo>
                <a:close/>
              </a:path>
            </a:pathLst>
          </a:custGeom>
          <a:solidFill>
            <a:srgbClr val="F26852"/>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AK</a:t>
            </a:r>
            <a:endParaRPr kumimoji="0"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grpSp>
        <p:nvGrpSpPr>
          <p:cNvPr id="277" name="Google Shape;5332;p39">
            <a:extLst>
              <a:ext uri="{FF2B5EF4-FFF2-40B4-BE49-F238E27FC236}">
                <a16:creationId xmlns:a16="http://schemas.microsoft.com/office/drawing/2014/main" id="{74527162-E62E-4A0B-7F99-84E7E35EBD38}"/>
              </a:ext>
            </a:extLst>
          </p:cNvPr>
          <p:cNvGrpSpPr/>
          <p:nvPr/>
        </p:nvGrpSpPr>
        <p:grpSpPr>
          <a:xfrm>
            <a:off x="8263927" y="4795813"/>
            <a:ext cx="933476" cy="639392"/>
            <a:chOff x="7357770" y="2158800"/>
            <a:chExt cx="760255" cy="520743"/>
          </a:xfrm>
        </p:grpSpPr>
        <p:sp>
          <p:nvSpPr>
            <p:cNvPr id="278" name="Google Shape;5333;p39">
              <a:extLst>
                <a:ext uri="{FF2B5EF4-FFF2-40B4-BE49-F238E27FC236}">
                  <a16:creationId xmlns:a16="http://schemas.microsoft.com/office/drawing/2014/main" id="{B0D5D06D-65B1-51F7-C02F-320B3C1701DD}"/>
                </a:ext>
              </a:extLst>
            </p:cNvPr>
            <p:cNvSpPr/>
            <p:nvPr/>
          </p:nvSpPr>
          <p:spPr>
            <a:xfrm>
              <a:off x="7927903" y="2478805"/>
              <a:ext cx="190122" cy="200738"/>
            </a:xfrm>
            <a:custGeom>
              <a:avLst/>
              <a:gdLst/>
              <a:ahLst/>
              <a:cxnLst/>
              <a:rect l="l" t="t" r="r" b="b"/>
              <a:pathLst>
                <a:path w="2740" h="2893" extrusionOk="0">
                  <a:moveTo>
                    <a:pt x="495" y="1"/>
                  </a:moveTo>
                  <a:cubicBezTo>
                    <a:pt x="475" y="1"/>
                    <a:pt x="456" y="7"/>
                    <a:pt x="438" y="25"/>
                  </a:cubicBezTo>
                  <a:cubicBezTo>
                    <a:pt x="362" y="101"/>
                    <a:pt x="400" y="177"/>
                    <a:pt x="438" y="253"/>
                  </a:cubicBezTo>
                  <a:cubicBezTo>
                    <a:pt x="457" y="405"/>
                    <a:pt x="648" y="595"/>
                    <a:pt x="400" y="747"/>
                  </a:cubicBezTo>
                  <a:cubicBezTo>
                    <a:pt x="1" y="1014"/>
                    <a:pt x="96" y="1318"/>
                    <a:pt x="267" y="1641"/>
                  </a:cubicBezTo>
                  <a:cubicBezTo>
                    <a:pt x="438" y="1927"/>
                    <a:pt x="476" y="2250"/>
                    <a:pt x="438" y="2573"/>
                  </a:cubicBezTo>
                  <a:cubicBezTo>
                    <a:pt x="400" y="2783"/>
                    <a:pt x="553" y="2821"/>
                    <a:pt x="724" y="2859"/>
                  </a:cubicBezTo>
                  <a:cubicBezTo>
                    <a:pt x="770" y="2882"/>
                    <a:pt x="811" y="2893"/>
                    <a:pt x="848" y="2893"/>
                  </a:cubicBezTo>
                  <a:cubicBezTo>
                    <a:pt x="932" y="2893"/>
                    <a:pt x="994" y="2837"/>
                    <a:pt x="1047" y="2745"/>
                  </a:cubicBezTo>
                  <a:cubicBezTo>
                    <a:pt x="1142" y="2497"/>
                    <a:pt x="1351" y="2402"/>
                    <a:pt x="1580" y="2307"/>
                  </a:cubicBezTo>
                  <a:cubicBezTo>
                    <a:pt x="1865" y="2193"/>
                    <a:pt x="2150" y="2098"/>
                    <a:pt x="2436" y="2022"/>
                  </a:cubicBezTo>
                  <a:cubicBezTo>
                    <a:pt x="2588" y="1984"/>
                    <a:pt x="2683" y="1889"/>
                    <a:pt x="2740" y="1718"/>
                  </a:cubicBezTo>
                  <a:cubicBezTo>
                    <a:pt x="2721" y="1527"/>
                    <a:pt x="2550" y="1508"/>
                    <a:pt x="2474" y="1432"/>
                  </a:cubicBezTo>
                  <a:cubicBezTo>
                    <a:pt x="2360" y="1299"/>
                    <a:pt x="2093" y="1261"/>
                    <a:pt x="2093" y="1033"/>
                  </a:cubicBezTo>
                  <a:cubicBezTo>
                    <a:pt x="2093" y="824"/>
                    <a:pt x="1960" y="709"/>
                    <a:pt x="1789" y="633"/>
                  </a:cubicBezTo>
                  <a:lnTo>
                    <a:pt x="648" y="63"/>
                  </a:lnTo>
                  <a:cubicBezTo>
                    <a:pt x="595" y="36"/>
                    <a:pt x="542" y="1"/>
                    <a:pt x="495"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79" name="Google Shape;5334;p39">
              <a:extLst>
                <a:ext uri="{FF2B5EF4-FFF2-40B4-BE49-F238E27FC236}">
                  <a16:creationId xmlns:a16="http://schemas.microsoft.com/office/drawing/2014/main" id="{FE9BE53A-B93C-27F9-7956-9A6EC657BFA4}"/>
                </a:ext>
              </a:extLst>
            </p:cNvPr>
            <p:cNvSpPr/>
            <p:nvPr/>
          </p:nvSpPr>
          <p:spPr>
            <a:xfrm>
              <a:off x="7826324" y="2351275"/>
              <a:ext cx="102971" cy="62796"/>
            </a:xfrm>
            <a:custGeom>
              <a:avLst/>
              <a:gdLst/>
              <a:ahLst/>
              <a:cxnLst/>
              <a:rect l="l" t="t" r="r" b="b"/>
              <a:pathLst>
                <a:path w="1484" h="905" extrusionOk="0">
                  <a:moveTo>
                    <a:pt x="182" y="0"/>
                  </a:moveTo>
                  <a:cubicBezTo>
                    <a:pt x="139" y="0"/>
                    <a:pt x="95" y="30"/>
                    <a:pt x="57" y="113"/>
                  </a:cubicBezTo>
                  <a:cubicBezTo>
                    <a:pt x="0" y="265"/>
                    <a:pt x="38" y="417"/>
                    <a:pt x="210" y="417"/>
                  </a:cubicBezTo>
                  <a:cubicBezTo>
                    <a:pt x="438" y="417"/>
                    <a:pt x="514" y="550"/>
                    <a:pt x="590" y="721"/>
                  </a:cubicBezTo>
                  <a:cubicBezTo>
                    <a:pt x="644" y="862"/>
                    <a:pt x="728" y="904"/>
                    <a:pt x="823" y="904"/>
                  </a:cubicBezTo>
                  <a:cubicBezTo>
                    <a:pt x="895" y="904"/>
                    <a:pt x="972" y="879"/>
                    <a:pt x="1046" y="855"/>
                  </a:cubicBezTo>
                  <a:cubicBezTo>
                    <a:pt x="1199" y="779"/>
                    <a:pt x="1389" y="779"/>
                    <a:pt x="1484" y="550"/>
                  </a:cubicBezTo>
                  <a:cubicBezTo>
                    <a:pt x="1427" y="493"/>
                    <a:pt x="1332" y="455"/>
                    <a:pt x="1275" y="379"/>
                  </a:cubicBezTo>
                  <a:cubicBezTo>
                    <a:pt x="1066" y="75"/>
                    <a:pt x="628" y="322"/>
                    <a:pt x="343" y="113"/>
                  </a:cubicBezTo>
                  <a:cubicBezTo>
                    <a:pt x="308" y="67"/>
                    <a:pt x="246" y="0"/>
                    <a:pt x="182" y="0"/>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80" name="Google Shape;5335;p39">
              <a:extLst>
                <a:ext uri="{FF2B5EF4-FFF2-40B4-BE49-F238E27FC236}">
                  <a16:creationId xmlns:a16="http://schemas.microsoft.com/office/drawing/2014/main" id="{71F4A8E9-6788-4F24-43FD-0CB36BE6326A}"/>
                </a:ext>
              </a:extLst>
            </p:cNvPr>
            <p:cNvSpPr/>
            <p:nvPr/>
          </p:nvSpPr>
          <p:spPr>
            <a:xfrm>
              <a:off x="7595342" y="2246850"/>
              <a:ext cx="73967" cy="56690"/>
            </a:xfrm>
            <a:custGeom>
              <a:avLst/>
              <a:gdLst/>
              <a:ahLst/>
              <a:cxnLst/>
              <a:rect l="l" t="t" r="r" b="b"/>
              <a:pathLst>
                <a:path w="1066" h="817" extrusionOk="0">
                  <a:moveTo>
                    <a:pt x="478" y="1"/>
                  </a:moveTo>
                  <a:cubicBezTo>
                    <a:pt x="477" y="1"/>
                    <a:pt x="477" y="1"/>
                    <a:pt x="476" y="1"/>
                  </a:cubicBezTo>
                  <a:cubicBezTo>
                    <a:pt x="305" y="77"/>
                    <a:pt x="1" y="191"/>
                    <a:pt x="1" y="267"/>
                  </a:cubicBezTo>
                  <a:cubicBezTo>
                    <a:pt x="20" y="762"/>
                    <a:pt x="438" y="762"/>
                    <a:pt x="819" y="781"/>
                  </a:cubicBezTo>
                  <a:cubicBezTo>
                    <a:pt x="854" y="799"/>
                    <a:pt x="895" y="817"/>
                    <a:pt x="933" y="817"/>
                  </a:cubicBezTo>
                  <a:cubicBezTo>
                    <a:pt x="976" y="817"/>
                    <a:pt x="1017" y="794"/>
                    <a:pt x="1047" y="724"/>
                  </a:cubicBezTo>
                  <a:cubicBezTo>
                    <a:pt x="1066" y="668"/>
                    <a:pt x="529" y="1"/>
                    <a:pt x="478"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81" name="Google Shape;5336;p39">
              <a:extLst>
                <a:ext uri="{FF2B5EF4-FFF2-40B4-BE49-F238E27FC236}">
                  <a16:creationId xmlns:a16="http://schemas.microsoft.com/office/drawing/2014/main" id="{BD6DF2EA-FECE-4171-2F41-B3108AB4AA20}"/>
                </a:ext>
              </a:extLst>
            </p:cNvPr>
            <p:cNvSpPr/>
            <p:nvPr/>
          </p:nvSpPr>
          <p:spPr>
            <a:xfrm>
              <a:off x="7357770" y="2158800"/>
              <a:ext cx="62102" cy="48571"/>
            </a:xfrm>
            <a:custGeom>
              <a:avLst/>
              <a:gdLst/>
              <a:ahLst/>
              <a:cxnLst/>
              <a:rect l="l" t="t" r="r" b="b"/>
              <a:pathLst>
                <a:path w="895" h="700" extrusionOk="0">
                  <a:moveTo>
                    <a:pt x="659" y="1"/>
                  </a:moveTo>
                  <a:cubicBezTo>
                    <a:pt x="636" y="1"/>
                    <a:pt x="613" y="5"/>
                    <a:pt x="591" y="15"/>
                  </a:cubicBezTo>
                  <a:cubicBezTo>
                    <a:pt x="381" y="53"/>
                    <a:pt x="39" y="53"/>
                    <a:pt x="20" y="376"/>
                  </a:cubicBezTo>
                  <a:cubicBezTo>
                    <a:pt x="1" y="585"/>
                    <a:pt x="267" y="699"/>
                    <a:pt x="438" y="699"/>
                  </a:cubicBezTo>
                  <a:cubicBezTo>
                    <a:pt x="686" y="699"/>
                    <a:pt x="876" y="566"/>
                    <a:pt x="895" y="167"/>
                  </a:cubicBezTo>
                  <a:cubicBezTo>
                    <a:pt x="879" y="104"/>
                    <a:pt x="771" y="1"/>
                    <a:pt x="659"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82" name="Google Shape;5337;p39">
              <a:extLst>
                <a:ext uri="{FF2B5EF4-FFF2-40B4-BE49-F238E27FC236}">
                  <a16:creationId xmlns:a16="http://schemas.microsoft.com/office/drawing/2014/main" id="{3FC90C56-140C-48CB-1F7D-5A53E6006D34}"/>
                </a:ext>
              </a:extLst>
            </p:cNvPr>
            <p:cNvSpPr/>
            <p:nvPr/>
          </p:nvSpPr>
          <p:spPr>
            <a:xfrm>
              <a:off x="7738899" y="2326574"/>
              <a:ext cx="80906" cy="37122"/>
            </a:xfrm>
            <a:custGeom>
              <a:avLst/>
              <a:gdLst/>
              <a:ahLst/>
              <a:cxnLst/>
              <a:rect l="l" t="t" r="r" b="b"/>
              <a:pathLst>
                <a:path w="1166" h="535" extrusionOk="0">
                  <a:moveTo>
                    <a:pt x="226" y="0"/>
                  </a:moveTo>
                  <a:cubicBezTo>
                    <a:pt x="64" y="0"/>
                    <a:pt x="0" y="146"/>
                    <a:pt x="43" y="431"/>
                  </a:cubicBezTo>
                  <a:cubicBezTo>
                    <a:pt x="135" y="374"/>
                    <a:pt x="224" y="352"/>
                    <a:pt x="312" y="352"/>
                  </a:cubicBezTo>
                  <a:cubicBezTo>
                    <a:pt x="460" y="352"/>
                    <a:pt x="603" y="416"/>
                    <a:pt x="747" y="488"/>
                  </a:cubicBezTo>
                  <a:cubicBezTo>
                    <a:pt x="804" y="516"/>
                    <a:pt x="864" y="534"/>
                    <a:pt x="918" y="534"/>
                  </a:cubicBezTo>
                  <a:cubicBezTo>
                    <a:pt x="1009" y="534"/>
                    <a:pt x="1084" y="485"/>
                    <a:pt x="1108" y="355"/>
                  </a:cubicBezTo>
                  <a:cubicBezTo>
                    <a:pt x="1165" y="164"/>
                    <a:pt x="994" y="183"/>
                    <a:pt x="880" y="145"/>
                  </a:cubicBezTo>
                  <a:cubicBezTo>
                    <a:pt x="728" y="88"/>
                    <a:pt x="557" y="88"/>
                    <a:pt x="423" y="50"/>
                  </a:cubicBezTo>
                  <a:cubicBezTo>
                    <a:pt x="347" y="17"/>
                    <a:pt x="281" y="0"/>
                    <a:pt x="226" y="0"/>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83" name="Google Shape;5338;p39">
              <a:extLst>
                <a:ext uri="{FF2B5EF4-FFF2-40B4-BE49-F238E27FC236}">
                  <a16:creationId xmlns:a16="http://schemas.microsoft.com/office/drawing/2014/main" id="{2F1677A6-0F8C-3B42-B7B0-77C7E4BD301D}"/>
                </a:ext>
              </a:extLst>
            </p:cNvPr>
            <p:cNvSpPr/>
            <p:nvPr/>
          </p:nvSpPr>
          <p:spPr>
            <a:xfrm>
              <a:off x="7754885" y="2371937"/>
              <a:ext cx="48918" cy="44963"/>
            </a:xfrm>
            <a:custGeom>
              <a:avLst/>
              <a:gdLst/>
              <a:ahLst/>
              <a:cxnLst/>
              <a:rect l="l" t="t" r="r" b="b"/>
              <a:pathLst>
                <a:path w="705" h="648" extrusionOk="0">
                  <a:moveTo>
                    <a:pt x="149" y="1"/>
                  </a:moveTo>
                  <a:cubicBezTo>
                    <a:pt x="103" y="1"/>
                    <a:pt x="54" y="6"/>
                    <a:pt x="1" y="19"/>
                  </a:cubicBezTo>
                  <a:cubicBezTo>
                    <a:pt x="58" y="190"/>
                    <a:pt x="153" y="323"/>
                    <a:pt x="191" y="494"/>
                  </a:cubicBezTo>
                  <a:cubicBezTo>
                    <a:pt x="204" y="576"/>
                    <a:pt x="227" y="648"/>
                    <a:pt x="295" y="648"/>
                  </a:cubicBezTo>
                  <a:cubicBezTo>
                    <a:pt x="322" y="648"/>
                    <a:pt x="356" y="636"/>
                    <a:pt x="400" y="609"/>
                  </a:cubicBezTo>
                  <a:cubicBezTo>
                    <a:pt x="495" y="533"/>
                    <a:pt x="704" y="514"/>
                    <a:pt x="628" y="342"/>
                  </a:cubicBezTo>
                  <a:cubicBezTo>
                    <a:pt x="533" y="152"/>
                    <a:pt x="384" y="1"/>
                    <a:pt x="149" y="1"/>
                  </a:cubicBezTo>
                  <a:close/>
                </a:path>
              </a:pathLst>
            </a:custGeom>
            <a:solidFill>
              <a:schemeClr val="accent1"/>
            </a:solidFill>
            <a:ln w="9525" cap="flat"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grpSp>
      <p:cxnSp>
        <p:nvCxnSpPr>
          <p:cNvPr id="11" name="Straight Connector 10">
            <a:extLst>
              <a:ext uri="{FF2B5EF4-FFF2-40B4-BE49-F238E27FC236}">
                <a16:creationId xmlns:a16="http://schemas.microsoft.com/office/drawing/2014/main" id="{B7CB4408-09FE-80D0-49AE-77A1676165DD}"/>
              </a:ext>
            </a:extLst>
          </p:cNvPr>
          <p:cNvCxnSpPr/>
          <p:nvPr/>
        </p:nvCxnSpPr>
        <p:spPr>
          <a:xfrm>
            <a:off x="11291449" y="2086817"/>
            <a:ext cx="97540" cy="1718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8E99BEE0-45C6-1AF8-0ADA-FBF35AABF6BB}"/>
              </a:ext>
            </a:extLst>
          </p:cNvPr>
          <p:cNvSpPr txBox="1"/>
          <p:nvPr/>
        </p:nvSpPr>
        <p:spPr>
          <a:xfrm>
            <a:off x="11271842" y="2257151"/>
            <a:ext cx="319569"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RI</a:t>
            </a:r>
            <a:endPar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cxnSp>
        <p:nvCxnSpPr>
          <p:cNvPr id="285" name="Straight Connector 284">
            <a:extLst>
              <a:ext uri="{FF2B5EF4-FFF2-40B4-BE49-F238E27FC236}">
                <a16:creationId xmlns:a16="http://schemas.microsoft.com/office/drawing/2014/main" id="{242F5EBE-F64B-7954-550B-2CD275E65638}"/>
              </a:ext>
            </a:extLst>
          </p:cNvPr>
          <p:cNvCxnSpPr/>
          <p:nvPr/>
        </p:nvCxnSpPr>
        <p:spPr>
          <a:xfrm>
            <a:off x="10957283" y="1586220"/>
            <a:ext cx="97540" cy="1718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6" name="TextBox 285">
            <a:extLst>
              <a:ext uri="{FF2B5EF4-FFF2-40B4-BE49-F238E27FC236}">
                <a16:creationId xmlns:a16="http://schemas.microsoft.com/office/drawing/2014/main" id="{9BF6A0B0-8C38-24E3-0338-A0550B477BC7}"/>
              </a:ext>
            </a:extLst>
          </p:cNvPr>
          <p:cNvSpPr txBox="1"/>
          <p:nvPr/>
        </p:nvSpPr>
        <p:spPr>
          <a:xfrm>
            <a:off x="10722840" y="1352750"/>
            <a:ext cx="402729"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VT</a:t>
            </a:r>
            <a:endPar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287" name="TextBox 286">
            <a:extLst>
              <a:ext uri="{FF2B5EF4-FFF2-40B4-BE49-F238E27FC236}">
                <a16:creationId xmlns:a16="http://schemas.microsoft.com/office/drawing/2014/main" id="{2C62A84C-547E-A268-4D20-FB38AC473B43}"/>
              </a:ext>
            </a:extLst>
          </p:cNvPr>
          <p:cNvSpPr txBox="1"/>
          <p:nvPr/>
        </p:nvSpPr>
        <p:spPr>
          <a:xfrm>
            <a:off x="8498910" y="5185197"/>
            <a:ext cx="319569"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rPr>
              <a:t>HI</a:t>
            </a:r>
            <a:endPar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endParaRPr>
          </a:p>
        </p:txBody>
      </p:sp>
      <p:sp>
        <p:nvSpPr>
          <p:cNvPr id="4" name="Google Shape;648;p36">
            <a:extLst>
              <a:ext uri="{FF2B5EF4-FFF2-40B4-BE49-F238E27FC236}">
                <a16:creationId xmlns:a16="http://schemas.microsoft.com/office/drawing/2014/main" id="{54571973-2384-1E63-67EE-9B3482AA7B96}"/>
              </a:ext>
            </a:extLst>
          </p:cNvPr>
          <p:cNvSpPr txBox="1"/>
          <p:nvPr/>
        </p:nvSpPr>
        <p:spPr>
          <a:xfrm>
            <a:off x="1585801" y="6453469"/>
            <a:ext cx="2793694" cy="23079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dirty="0">
                <a:solidFill>
                  <a:schemeClr val="bg1"/>
                </a:solidFill>
                <a:latin typeface="Segoe UI" panose="020B0502040204020203" pitchFamily="34" charset="0"/>
                <a:ea typeface="Segoe UI"/>
                <a:cs typeface="Segoe UI" panose="020B0502040204020203" pitchFamily="34" charset="0"/>
                <a:sym typeface="Segoe UI"/>
              </a:rPr>
              <a:t>Source: Texas Education Agency, Census Bureau</a:t>
            </a:r>
          </a:p>
        </p:txBody>
      </p:sp>
      <p:sp>
        <p:nvSpPr>
          <p:cNvPr id="8" name="TextBox 7">
            <a:extLst>
              <a:ext uri="{FF2B5EF4-FFF2-40B4-BE49-F238E27FC236}">
                <a16:creationId xmlns:a16="http://schemas.microsoft.com/office/drawing/2014/main" id="{52D99851-F06E-0607-5753-A9E872C3D1A4}"/>
              </a:ext>
            </a:extLst>
          </p:cNvPr>
          <p:cNvSpPr txBox="1"/>
          <p:nvPr/>
        </p:nvSpPr>
        <p:spPr>
          <a:xfrm>
            <a:off x="10646319" y="2459841"/>
            <a:ext cx="550767" cy="215444"/>
          </a:xfrm>
          <a:prstGeom prst="rect">
            <a:avLst/>
          </a:prstGeom>
          <a:noFill/>
        </p:spPr>
        <p:txBody>
          <a:bodyPr wrap="square">
            <a:spAutoFit/>
          </a:bodyPr>
          <a:lstStyle/>
          <a:p>
            <a:r>
              <a:rPr kumimoji="0" lang="en-GB"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MD</a:t>
            </a:r>
            <a:endParaRPr lang="en-US" dirty="0"/>
          </a:p>
        </p:txBody>
      </p:sp>
    </p:spTree>
    <p:extLst>
      <p:ext uri="{BB962C8B-B14F-4D97-AF65-F5344CB8AC3E}">
        <p14:creationId xmlns:p14="http://schemas.microsoft.com/office/powerpoint/2010/main" val="2836442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 clipart, tableware, dishware&#10;&#10;Description automatically generated">
            <a:extLst>
              <a:ext uri="{FF2B5EF4-FFF2-40B4-BE49-F238E27FC236}">
                <a16:creationId xmlns:a16="http://schemas.microsoft.com/office/drawing/2014/main" id="{EB82562D-F8F4-B527-2053-2DA9C1C69C4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10025" y="1942197"/>
            <a:ext cx="4171950" cy="1857820"/>
          </a:xfrm>
          <a:prstGeom prst="rect">
            <a:avLst/>
          </a:prstGeom>
        </p:spPr>
      </p:pic>
      <p:sp>
        <p:nvSpPr>
          <p:cNvPr id="5" name="TextBox 4">
            <a:extLst>
              <a:ext uri="{FF2B5EF4-FFF2-40B4-BE49-F238E27FC236}">
                <a16:creationId xmlns:a16="http://schemas.microsoft.com/office/drawing/2014/main" id="{A8374C7D-45E6-D6D8-C8D5-F30764413C56}"/>
              </a:ext>
            </a:extLst>
          </p:cNvPr>
          <p:cNvSpPr txBox="1"/>
          <p:nvPr/>
        </p:nvSpPr>
        <p:spPr>
          <a:xfrm>
            <a:off x="663802" y="4241263"/>
            <a:ext cx="3877582" cy="535531"/>
          </a:xfrm>
          <a:prstGeom prst="rect">
            <a:avLst/>
          </a:prstGeom>
          <a:noFill/>
        </p:spPr>
        <p:txBody>
          <a:bodyPr wrap="square">
            <a:spAutoFit/>
          </a:bodyPr>
          <a:lstStyle/>
          <a:p>
            <a:pPr marL="0" marR="0" lvl="0" indent="0" algn="l" defTabSz="14668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dirty="0">
                <a:ln>
                  <a:noFill/>
                </a:ln>
                <a:solidFill>
                  <a:srgbClr val="F26752"/>
                </a:solidFill>
                <a:effectLst/>
                <a:uLnTx/>
                <a:uFillTx/>
                <a:latin typeface="Segoe UI" panose="020B0502040204020203" pitchFamily="34" charset="0"/>
                <a:ea typeface="+mn-ea"/>
                <a:cs typeface="Segoe UI" panose="020B0502040204020203" pitchFamily="34" charset="0"/>
              </a:rPr>
              <a:t>Margaret Spellings</a:t>
            </a:r>
          </a:p>
        </p:txBody>
      </p:sp>
      <p:sp>
        <p:nvSpPr>
          <p:cNvPr id="7" name="TextBox 6">
            <a:extLst>
              <a:ext uri="{FF2B5EF4-FFF2-40B4-BE49-F238E27FC236}">
                <a16:creationId xmlns:a16="http://schemas.microsoft.com/office/drawing/2014/main" id="{358807E9-0BC0-4FD5-76CB-834F26CB5EAB}"/>
              </a:ext>
            </a:extLst>
          </p:cNvPr>
          <p:cNvSpPr txBox="1"/>
          <p:nvPr/>
        </p:nvSpPr>
        <p:spPr>
          <a:xfrm>
            <a:off x="663802" y="4776794"/>
            <a:ext cx="4017282" cy="369332"/>
          </a:xfrm>
          <a:prstGeom prst="rect">
            <a:avLst/>
          </a:prstGeom>
          <a:noFill/>
        </p:spPr>
        <p:txBody>
          <a:bodyPr wrap="square">
            <a:spAutoFit/>
          </a:bodyPr>
          <a:lstStyle/>
          <a:p>
            <a:pPr marL="0" marR="0" lvl="0" indent="0" algn="l" defTabSz="14668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resident &amp; CEO</a:t>
            </a:r>
          </a:p>
        </p:txBody>
      </p:sp>
      <p:sp>
        <p:nvSpPr>
          <p:cNvPr id="10" name="TextBox 9">
            <a:extLst>
              <a:ext uri="{FF2B5EF4-FFF2-40B4-BE49-F238E27FC236}">
                <a16:creationId xmlns:a16="http://schemas.microsoft.com/office/drawing/2014/main" id="{827A5450-54D8-B55E-B4D5-E858281F4DB8}"/>
              </a:ext>
            </a:extLst>
          </p:cNvPr>
          <p:cNvSpPr txBox="1"/>
          <p:nvPr/>
        </p:nvSpPr>
        <p:spPr>
          <a:xfrm>
            <a:off x="663802" y="5395127"/>
            <a:ext cx="3703124" cy="286232"/>
          </a:xfrm>
          <a:prstGeom prst="rect">
            <a:avLst/>
          </a:prstGeom>
          <a:noFill/>
        </p:spPr>
        <p:txBody>
          <a:bodyPr wrap="square">
            <a:spAutoFit/>
          </a:bodyPr>
          <a:lstStyle/>
          <a:p>
            <a:pPr marL="0" marR="0" lvl="0" indent="0" algn="l" defTabSz="146685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E-mail: margaret.spellings@texas2036.org</a:t>
            </a:r>
          </a:p>
        </p:txBody>
      </p:sp>
      <p:sp>
        <p:nvSpPr>
          <p:cNvPr id="12" name="Rectangle 11">
            <a:extLst>
              <a:ext uri="{FF2B5EF4-FFF2-40B4-BE49-F238E27FC236}">
                <a16:creationId xmlns:a16="http://schemas.microsoft.com/office/drawing/2014/main" id="{F73090A2-B083-1F72-05A9-07A3858319E1}"/>
              </a:ext>
            </a:extLst>
          </p:cNvPr>
          <p:cNvSpPr/>
          <p:nvPr/>
        </p:nvSpPr>
        <p:spPr>
          <a:xfrm>
            <a:off x="6096000" y="3429001"/>
            <a:ext cx="6095999" cy="3429000"/>
          </a:xfrm>
          <a:prstGeom prst="rect">
            <a:avLst/>
          </a:prstGeom>
          <a:solidFill>
            <a:schemeClr val="bg1"/>
          </a:solidFill>
          <a:ln w="9525" cap="flat" cmpd="sng">
            <a:solidFill>
              <a:schemeClr val="bg1"/>
            </a:solidFill>
            <a:prstDash val="solid"/>
            <a:round/>
            <a:headEnd type="none" w="sm" len="sm"/>
            <a:tailEnd type="none" w="sm" len="sm"/>
          </a:ln>
        </p:spPr>
        <p:txBody>
          <a:bodyPr spcFirstLastPara="1" wrap="square" lIns="91425" tIns="91425" rIns="91425" bIns="91425"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B4DA5"/>
              </a:solidFill>
              <a:effectLst/>
              <a:uLnTx/>
              <a:uFillTx/>
              <a:latin typeface="Segoe UI" panose="020B0502040204020203" pitchFamily="34" charset="0"/>
              <a:ea typeface="+mn-ea"/>
              <a:cs typeface="+mn-cs"/>
            </a:endParaRPr>
          </a:p>
        </p:txBody>
      </p:sp>
      <p:pic>
        <p:nvPicPr>
          <p:cNvPr id="13" name="Picture 12" descr="A picture containing text, tableware, plate, dishware&#10;&#10;Description automatically generated">
            <a:extLst>
              <a:ext uri="{FF2B5EF4-FFF2-40B4-BE49-F238E27FC236}">
                <a16:creationId xmlns:a16="http://schemas.microsoft.com/office/drawing/2014/main" id="{4134390F-8F70-6187-8A09-AF908FC2508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83450" y="4268034"/>
            <a:ext cx="3737611" cy="1664405"/>
          </a:xfrm>
          <a:prstGeom prst="rect">
            <a:avLst/>
          </a:prstGeom>
        </p:spPr>
      </p:pic>
      <p:sp>
        <p:nvSpPr>
          <p:cNvPr id="14" name="Rectangle 13">
            <a:extLst>
              <a:ext uri="{FF2B5EF4-FFF2-40B4-BE49-F238E27FC236}">
                <a16:creationId xmlns:a16="http://schemas.microsoft.com/office/drawing/2014/main" id="{DD69D379-ABF3-CA7C-F6C3-11997B299BB5}"/>
              </a:ext>
            </a:extLst>
          </p:cNvPr>
          <p:cNvSpPr/>
          <p:nvPr/>
        </p:nvSpPr>
        <p:spPr>
          <a:xfrm>
            <a:off x="1" y="0"/>
            <a:ext cx="12192000" cy="3600450"/>
          </a:xfrm>
          <a:prstGeom prst="rect">
            <a:avLst/>
          </a:prstGeom>
          <a:solidFill>
            <a:srgbClr val="F26752"/>
          </a:solidFill>
          <a:ln w="9525" cap="flat" cmpd="sng">
            <a:noFill/>
            <a:prstDash val="solid"/>
            <a:round/>
            <a:headEnd type="none" w="sm" len="sm"/>
            <a:tailEnd type="none" w="sm" len="sm"/>
          </a:ln>
        </p:spPr>
        <p:txBody>
          <a:bodyPr spcFirstLastPara="1" wrap="square" lIns="91425" tIns="91425" rIns="91425" bIns="91425"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B4DA5"/>
              </a:solidFill>
              <a:effectLst/>
              <a:uLnTx/>
              <a:uFillTx/>
              <a:latin typeface="Segoe UI" panose="020B0502040204020203" pitchFamily="34" charset="0"/>
              <a:ea typeface="+mn-ea"/>
              <a:cs typeface="+mn-cs"/>
            </a:endParaRPr>
          </a:p>
        </p:txBody>
      </p:sp>
      <p:sp>
        <p:nvSpPr>
          <p:cNvPr id="15" name="TextBox 14">
            <a:extLst>
              <a:ext uri="{FF2B5EF4-FFF2-40B4-BE49-F238E27FC236}">
                <a16:creationId xmlns:a16="http://schemas.microsoft.com/office/drawing/2014/main" id="{16BD4789-B0C4-7671-8AFC-9003CC7F0766}"/>
              </a:ext>
            </a:extLst>
          </p:cNvPr>
          <p:cNvSpPr txBox="1"/>
          <p:nvPr/>
        </p:nvSpPr>
        <p:spPr>
          <a:xfrm>
            <a:off x="3744686" y="1462873"/>
            <a:ext cx="4702628" cy="1015663"/>
          </a:xfrm>
          <a:prstGeom prst="rect">
            <a:avLst/>
          </a:prstGeom>
          <a:noFill/>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Pts val="990"/>
              <a:buFontTx/>
              <a:buNone/>
              <a:tabLst/>
              <a:defRPr/>
            </a:pPr>
            <a:r>
              <a:rPr kumimoji="0" lang="en-US" sz="60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sym typeface="Segoe UI"/>
              </a:rPr>
              <a:t>Thank You!</a:t>
            </a:r>
          </a:p>
        </p:txBody>
      </p:sp>
    </p:spTree>
    <p:extLst>
      <p:ext uri="{BB962C8B-B14F-4D97-AF65-F5344CB8AC3E}">
        <p14:creationId xmlns:p14="http://schemas.microsoft.com/office/powerpoint/2010/main" val="12357751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C944FD-684B-D191-A26A-28C87452AC5E}"/>
              </a:ext>
            </a:extLst>
          </p:cNvPr>
          <p:cNvSpPr>
            <a:spLocks noGrp="1"/>
          </p:cNvSpPr>
          <p:nvPr>
            <p:ph type="title"/>
          </p:nvPr>
        </p:nvSpPr>
        <p:spPr>
          <a:xfrm>
            <a:off x="5843260" y="2525712"/>
            <a:ext cx="10658475" cy="903288"/>
          </a:xfrm>
        </p:spPr>
        <p:txBody>
          <a:bodyPr>
            <a:normAutofit/>
          </a:bodyPr>
          <a:lstStyle/>
          <a:p>
            <a:r>
              <a:rPr lang="en-US" sz="4000" dirty="0"/>
              <a:t>APPENDIX</a:t>
            </a:r>
          </a:p>
        </p:txBody>
      </p:sp>
      <p:sp>
        <p:nvSpPr>
          <p:cNvPr id="6" name="Google Shape;522;p24">
            <a:extLst>
              <a:ext uri="{FF2B5EF4-FFF2-40B4-BE49-F238E27FC236}">
                <a16:creationId xmlns:a16="http://schemas.microsoft.com/office/drawing/2014/main" id="{A3717D6A-B82A-07E6-12BA-53260C9FD20F}"/>
              </a:ext>
            </a:extLst>
          </p:cNvPr>
          <p:cNvSpPr/>
          <p:nvPr/>
        </p:nvSpPr>
        <p:spPr>
          <a:xfrm>
            <a:off x="1139995" y="1424731"/>
            <a:ext cx="3619698" cy="3516050"/>
          </a:xfrm>
          <a:custGeom>
            <a:avLst/>
            <a:gdLst/>
            <a:ahLst/>
            <a:cxnLst/>
            <a:rect l="l" t="t" r="r" b="b"/>
            <a:pathLst>
              <a:path w="76582" h="74389" extrusionOk="0">
                <a:moveTo>
                  <a:pt x="24033" y="0"/>
                </a:moveTo>
                <a:cubicBezTo>
                  <a:pt x="24008" y="0"/>
                  <a:pt x="23984" y="1"/>
                  <a:pt x="23960" y="1"/>
                </a:cubicBezTo>
                <a:cubicBezTo>
                  <a:pt x="23885" y="44"/>
                  <a:pt x="23826" y="91"/>
                  <a:pt x="23767" y="145"/>
                </a:cubicBezTo>
                <a:cubicBezTo>
                  <a:pt x="23757" y="140"/>
                  <a:pt x="23740" y="140"/>
                  <a:pt x="23729" y="135"/>
                </a:cubicBezTo>
                <a:cubicBezTo>
                  <a:pt x="23724" y="156"/>
                  <a:pt x="23724" y="178"/>
                  <a:pt x="23719" y="200"/>
                </a:cubicBezTo>
                <a:cubicBezTo>
                  <a:pt x="23251" y="747"/>
                  <a:pt x="23655" y="1698"/>
                  <a:pt x="23321" y="2268"/>
                </a:cubicBezTo>
                <a:cubicBezTo>
                  <a:pt x="23278" y="2880"/>
                  <a:pt x="23236" y="3492"/>
                  <a:pt x="23192" y="4105"/>
                </a:cubicBezTo>
                <a:cubicBezTo>
                  <a:pt x="23139" y="4846"/>
                  <a:pt x="23085" y="5588"/>
                  <a:pt x="23031" y="6324"/>
                </a:cubicBezTo>
                <a:lnTo>
                  <a:pt x="23031" y="6329"/>
                </a:lnTo>
                <a:cubicBezTo>
                  <a:pt x="22655" y="7968"/>
                  <a:pt x="22956" y="9686"/>
                  <a:pt x="22510" y="11320"/>
                </a:cubicBezTo>
                <a:cubicBezTo>
                  <a:pt x="22478" y="11744"/>
                  <a:pt x="22450" y="12163"/>
                  <a:pt x="22423" y="12587"/>
                </a:cubicBezTo>
                <a:cubicBezTo>
                  <a:pt x="22172" y="16262"/>
                  <a:pt x="21994" y="19942"/>
                  <a:pt x="21436" y="23596"/>
                </a:cubicBezTo>
                <a:lnTo>
                  <a:pt x="21436" y="25007"/>
                </a:lnTo>
                <a:cubicBezTo>
                  <a:pt x="21290" y="26598"/>
                  <a:pt x="21070" y="28188"/>
                  <a:pt x="21027" y="29784"/>
                </a:cubicBezTo>
                <a:cubicBezTo>
                  <a:pt x="21022" y="29966"/>
                  <a:pt x="21005" y="30117"/>
                  <a:pt x="20973" y="30241"/>
                </a:cubicBezTo>
                <a:cubicBezTo>
                  <a:pt x="20779" y="30531"/>
                  <a:pt x="20511" y="30719"/>
                  <a:pt x="20125" y="30821"/>
                </a:cubicBezTo>
                <a:cubicBezTo>
                  <a:pt x="20006" y="30821"/>
                  <a:pt x="19872" y="30809"/>
                  <a:pt x="19722" y="30799"/>
                </a:cubicBezTo>
                <a:cubicBezTo>
                  <a:pt x="14372" y="30256"/>
                  <a:pt x="9021" y="29757"/>
                  <a:pt x="3664" y="29274"/>
                </a:cubicBezTo>
                <a:cubicBezTo>
                  <a:pt x="3242" y="29236"/>
                  <a:pt x="2818" y="29226"/>
                  <a:pt x="2392" y="29226"/>
                </a:cubicBezTo>
                <a:cubicBezTo>
                  <a:pt x="1950" y="29226"/>
                  <a:pt x="1507" y="29237"/>
                  <a:pt x="1063" y="29237"/>
                </a:cubicBezTo>
                <a:cubicBezTo>
                  <a:pt x="1015" y="29237"/>
                  <a:pt x="967" y="29237"/>
                  <a:pt x="919" y="29236"/>
                </a:cubicBezTo>
                <a:cubicBezTo>
                  <a:pt x="817" y="29225"/>
                  <a:pt x="710" y="29214"/>
                  <a:pt x="623" y="29214"/>
                </a:cubicBezTo>
                <a:cubicBezTo>
                  <a:pt x="511" y="29214"/>
                  <a:pt x="435" y="29214"/>
                  <a:pt x="387" y="29321"/>
                </a:cubicBezTo>
                <a:cubicBezTo>
                  <a:pt x="306" y="29370"/>
                  <a:pt x="237" y="29440"/>
                  <a:pt x="194" y="29542"/>
                </a:cubicBezTo>
                <a:cubicBezTo>
                  <a:pt x="140" y="29681"/>
                  <a:pt x="194" y="29822"/>
                  <a:pt x="301" y="29907"/>
                </a:cubicBezTo>
                <a:cubicBezTo>
                  <a:pt x="247" y="30095"/>
                  <a:pt x="140" y="30246"/>
                  <a:pt x="1" y="30348"/>
                </a:cubicBezTo>
                <a:cubicBezTo>
                  <a:pt x="70" y="30397"/>
                  <a:pt x="145" y="30444"/>
                  <a:pt x="231" y="30477"/>
                </a:cubicBezTo>
                <a:cubicBezTo>
                  <a:pt x="678" y="30633"/>
                  <a:pt x="892" y="30982"/>
                  <a:pt x="1204" y="31540"/>
                </a:cubicBezTo>
                <a:cubicBezTo>
                  <a:pt x="1382" y="31858"/>
                  <a:pt x="1563" y="32185"/>
                  <a:pt x="1838" y="32475"/>
                </a:cubicBezTo>
                <a:cubicBezTo>
                  <a:pt x="2461" y="33142"/>
                  <a:pt x="3058" y="33861"/>
                  <a:pt x="3643" y="34555"/>
                </a:cubicBezTo>
                <a:cubicBezTo>
                  <a:pt x="4985" y="36160"/>
                  <a:pt x="6378" y="37821"/>
                  <a:pt x="8193" y="39067"/>
                </a:cubicBezTo>
                <a:cubicBezTo>
                  <a:pt x="8843" y="39512"/>
                  <a:pt x="9047" y="40216"/>
                  <a:pt x="9289" y="41027"/>
                </a:cubicBezTo>
                <a:cubicBezTo>
                  <a:pt x="9455" y="41587"/>
                  <a:pt x="9622" y="42172"/>
                  <a:pt x="9961" y="42693"/>
                </a:cubicBezTo>
                <a:cubicBezTo>
                  <a:pt x="9949" y="42736"/>
                  <a:pt x="9934" y="42779"/>
                  <a:pt x="9923" y="42812"/>
                </a:cubicBezTo>
                <a:lnTo>
                  <a:pt x="9901" y="42876"/>
                </a:lnTo>
                <a:cubicBezTo>
                  <a:pt x="9472" y="44235"/>
                  <a:pt x="9929" y="45567"/>
                  <a:pt x="11201" y="46636"/>
                </a:cubicBezTo>
                <a:cubicBezTo>
                  <a:pt x="13517" y="48587"/>
                  <a:pt x="15510" y="50000"/>
                  <a:pt x="17476" y="51079"/>
                </a:cubicBezTo>
                <a:cubicBezTo>
                  <a:pt x="17868" y="51294"/>
                  <a:pt x="18228" y="51401"/>
                  <a:pt x="18588" y="51401"/>
                </a:cubicBezTo>
                <a:cubicBezTo>
                  <a:pt x="19110" y="51401"/>
                  <a:pt x="19604" y="51170"/>
                  <a:pt x="20109" y="50704"/>
                </a:cubicBezTo>
                <a:cubicBezTo>
                  <a:pt x="20801" y="50064"/>
                  <a:pt x="21097" y="49291"/>
                  <a:pt x="21387" y="48549"/>
                </a:cubicBezTo>
                <a:cubicBezTo>
                  <a:pt x="21511" y="48232"/>
                  <a:pt x="21624" y="47937"/>
                  <a:pt x="21768" y="47657"/>
                </a:cubicBezTo>
                <a:cubicBezTo>
                  <a:pt x="21838" y="47518"/>
                  <a:pt x="21892" y="47372"/>
                  <a:pt x="21946" y="47233"/>
                </a:cubicBezTo>
                <a:cubicBezTo>
                  <a:pt x="22037" y="47007"/>
                  <a:pt x="22101" y="46868"/>
                  <a:pt x="22160" y="46776"/>
                </a:cubicBezTo>
                <a:cubicBezTo>
                  <a:pt x="22359" y="46717"/>
                  <a:pt x="22559" y="46668"/>
                  <a:pt x="22757" y="46631"/>
                </a:cubicBezTo>
                <a:cubicBezTo>
                  <a:pt x="22956" y="46631"/>
                  <a:pt x="23133" y="46598"/>
                  <a:pt x="23300" y="46551"/>
                </a:cubicBezTo>
                <a:cubicBezTo>
                  <a:pt x="23519" y="46528"/>
                  <a:pt x="23736" y="46516"/>
                  <a:pt x="23952" y="46516"/>
                </a:cubicBezTo>
                <a:cubicBezTo>
                  <a:pt x="28004" y="46516"/>
                  <a:pt x="31442" y="50471"/>
                  <a:pt x="33432" y="53776"/>
                </a:cubicBezTo>
                <a:cubicBezTo>
                  <a:pt x="33925" y="54592"/>
                  <a:pt x="34495" y="55306"/>
                  <a:pt x="35086" y="55990"/>
                </a:cubicBezTo>
                <a:cubicBezTo>
                  <a:pt x="35968" y="57627"/>
                  <a:pt x="37042" y="59149"/>
                  <a:pt x="38105" y="60631"/>
                </a:cubicBezTo>
                <a:lnTo>
                  <a:pt x="38396" y="61039"/>
                </a:lnTo>
                <a:cubicBezTo>
                  <a:pt x="38514" y="61205"/>
                  <a:pt x="38669" y="61410"/>
                  <a:pt x="38869" y="61560"/>
                </a:cubicBezTo>
                <a:cubicBezTo>
                  <a:pt x="38981" y="61936"/>
                  <a:pt x="39100" y="62301"/>
                  <a:pt x="39256" y="62630"/>
                </a:cubicBezTo>
                <a:cubicBezTo>
                  <a:pt x="39519" y="63193"/>
                  <a:pt x="39819" y="63731"/>
                  <a:pt x="40131" y="64262"/>
                </a:cubicBezTo>
                <a:cubicBezTo>
                  <a:pt x="40635" y="66357"/>
                  <a:pt x="41533" y="68162"/>
                  <a:pt x="42311" y="69560"/>
                </a:cubicBezTo>
                <a:lnTo>
                  <a:pt x="42355" y="69635"/>
                </a:lnTo>
                <a:cubicBezTo>
                  <a:pt x="42494" y="69893"/>
                  <a:pt x="42683" y="70237"/>
                  <a:pt x="43112" y="70386"/>
                </a:cubicBezTo>
                <a:cubicBezTo>
                  <a:pt x="43945" y="70677"/>
                  <a:pt x="44724" y="71085"/>
                  <a:pt x="45546" y="71515"/>
                </a:cubicBezTo>
                <a:cubicBezTo>
                  <a:pt x="46824" y="72181"/>
                  <a:pt x="48145" y="72868"/>
                  <a:pt x="49688" y="73089"/>
                </a:cubicBezTo>
                <a:cubicBezTo>
                  <a:pt x="50756" y="73245"/>
                  <a:pt x="51633" y="73411"/>
                  <a:pt x="52342" y="74046"/>
                </a:cubicBezTo>
                <a:cubicBezTo>
                  <a:pt x="52600" y="74276"/>
                  <a:pt x="52852" y="74388"/>
                  <a:pt x="53104" y="74388"/>
                </a:cubicBezTo>
                <a:cubicBezTo>
                  <a:pt x="53599" y="74388"/>
                  <a:pt x="53851" y="73981"/>
                  <a:pt x="54002" y="73739"/>
                </a:cubicBezTo>
                <a:cubicBezTo>
                  <a:pt x="54039" y="73674"/>
                  <a:pt x="54093" y="73589"/>
                  <a:pt x="54131" y="73545"/>
                </a:cubicBezTo>
                <a:cubicBezTo>
                  <a:pt x="54592" y="73443"/>
                  <a:pt x="54748" y="73191"/>
                  <a:pt x="54802" y="72992"/>
                </a:cubicBezTo>
                <a:cubicBezTo>
                  <a:pt x="54921" y="72541"/>
                  <a:pt x="54555" y="72208"/>
                  <a:pt x="54373" y="72052"/>
                </a:cubicBezTo>
                <a:cubicBezTo>
                  <a:pt x="53835" y="71306"/>
                  <a:pt x="53664" y="70413"/>
                  <a:pt x="53481" y="69463"/>
                </a:cubicBezTo>
                <a:cubicBezTo>
                  <a:pt x="53384" y="68936"/>
                  <a:pt x="53271" y="68400"/>
                  <a:pt x="53104" y="67872"/>
                </a:cubicBezTo>
                <a:cubicBezTo>
                  <a:pt x="53201" y="67577"/>
                  <a:pt x="53277" y="67249"/>
                  <a:pt x="53303" y="66900"/>
                </a:cubicBezTo>
                <a:cubicBezTo>
                  <a:pt x="53481" y="64686"/>
                  <a:pt x="54942" y="62146"/>
                  <a:pt x="55774" y="60121"/>
                </a:cubicBezTo>
                <a:cubicBezTo>
                  <a:pt x="56779" y="57692"/>
                  <a:pt x="59492" y="57337"/>
                  <a:pt x="61184" y="55651"/>
                </a:cubicBezTo>
                <a:cubicBezTo>
                  <a:pt x="61227" y="55629"/>
                  <a:pt x="61271" y="55608"/>
                  <a:pt x="61297" y="55597"/>
                </a:cubicBezTo>
                <a:cubicBezTo>
                  <a:pt x="63011" y="55016"/>
                  <a:pt x="64778" y="54416"/>
                  <a:pt x="66057" y="53099"/>
                </a:cubicBezTo>
                <a:cubicBezTo>
                  <a:pt x="66272" y="52879"/>
                  <a:pt x="66535" y="52663"/>
                  <a:pt x="66820" y="52433"/>
                </a:cubicBezTo>
                <a:cubicBezTo>
                  <a:pt x="67819" y="51627"/>
                  <a:pt x="69183" y="50526"/>
                  <a:pt x="68447" y="48425"/>
                </a:cubicBezTo>
                <a:cubicBezTo>
                  <a:pt x="68427" y="48361"/>
                  <a:pt x="68427" y="48329"/>
                  <a:pt x="68420" y="48329"/>
                </a:cubicBezTo>
                <a:cubicBezTo>
                  <a:pt x="68469" y="48264"/>
                  <a:pt x="68710" y="48168"/>
                  <a:pt x="68839" y="48113"/>
                </a:cubicBezTo>
                <a:cubicBezTo>
                  <a:pt x="68893" y="48093"/>
                  <a:pt x="68942" y="48071"/>
                  <a:pt x="68995" y="48049"/>
                </a:cubicBezTo>
                <a:cubicBezTo>
                  <a:pt x="69119" y="49204"/>
                  <a:pt x="69942" y="49301"/>
                  <a:pt x="70205" y="49301"/>
                </a:cubicBezTo>
                <a:cubicBezTo>
                  <a:pt x="70683" y="49301"/>
                  <a:pt x="71160" y="49060"/>
                  <a:pt x="71418" y="48931"/>
                </a:cubicBezTo>
                <a:cubicBezTo>
                  <a:pt x="72198" y="48538"/>
                  <a:pt x="73057" y="48254"/>
                  <a:pt x="74207" y="48006"/>
                </a:cubicBezTo>
                <a:cubicBezTo>
                  <a:pt x="74266" y="47996"/>
                  <a:pt x="74325" y="47969"/>
                  <a:pt x="74378" y="47937"/>
                </a:cubicBezTo>
                <a:cubicBezTo>
                  <a:pt x="74454" y="47883"/>
                  <a:pt x="74459" y="47409"/>
                  <a:pt x="74459" y="47409"/>
                </a:cubicBezTo>
                <a:cubicBezTo>
                  <a:pt x="74797" y="46776"/>
                  <a:pt x="75152" y="46152"/>
                  <a:pt x="75377" y="45470"/>
                </a:cubicBezTo>
                <a:cubicBezTo>
                  <a:pt x="75700" y="44483"/>
                  <a:pt x="75598" y="43322"/>
                  <a:pt x="75640" y="42296"/>
                </a:cubicBezTo>
                <a:cubicBezTo>
                  <a:pt x="75667" y="41543"/>
                  <a:pt x="76071" y="40883"/>
                  <a:pt x="76248" y="40157"/>
                </a:cubicBezTo>
                <a:cubicBezTo>
                  <a:pt x="76582" y="39271"/>
                  <a:pt x="76527" y="38391"/>
                  <a:pt x="76087" y="37573"/>
                </a:cubicBezTo>
                <a:cubicBezTo>
                  <a:pt x="76044" y="37412"/>
                  <a:pt x="75995" y="37256"/>
                  <a:pt x="75947" y="37101"/>
                </a:cubicBezTo>
                <a:cubicBezTo>
                  <a:pt x="75952" y="37010"/>
                  <a:pt x="75925" y="36928"/>
                  <a:pt x="75866" y="36864"/>
                </a:cubicBezTo>
                <a:cubicBezTo>
                  <a:pt x="75845" y="36794"/>
                  <a:pt x="75818" y="36725"/>
                  <a:pt x="75796" y="36655"/>
                </a:cubicBezTo>
                <a:cubicBezTo>
                  <a:pt x="75754" y="36542"/>
                  <a:pt x="75711" y="36435"/>
                  <a:pt x="75667" y="36328"/>
                </a:cubicBezTo>
                <a:cubicBezTo>
                  <a:pt x="75711" y="36075"/>
                  <a:pt x="75759" y="35827"/>
                  <a:pt x="75410" y="35688"/>
                </a:cubicBezTo>
                <a:lnTo>
                  <a:pt x="75410" y="35688"/>
                </a:lnTo>
                <a:cubicBezTo>
                  <a:pt x="75415" y="35720"/>
                  <a:pt x="75421" y="35753"/>
                  <a:pt x="75421" y="35790"/>
                </a:cubicBezTo>
                <a:cubicBezTo>
                  <a:pt x="75394" y="35731"/>
                  <a:pt x="75367" y="35677"/>
                  <a:pt x="75340" y="35624"/>
                </a:cubicBezTo>
                <a:lnTo>
                  <a:pt x="75340" y="35624"/>
                </a:lnTo>
                <a:cubicBezTo>
                  <a:pt x="75357" y="35629"/>
                  <a:pt x="75367" y="35634"/>
                  <a:pt x="75383" y="35639"/>
                </a:cubicBezTo>
                <a:cubicBezTo>
                  <a:pt x="75464" y="35393"/>
                  <a:pt x="75383" y="35220"/>
                  <a:pt x="75131" y="35123"/>
                </a:cubicBezTo>
                <a:cubicBezTo>
                  <a:pt x="75125" y="35135"/>
                  <a:pt x="75120" y="35145"/>
                  <a:pt x="75114" y="35156"/>
                </a:cubicBezTo>
                <a:cubicBezTo>
                  <a:pt x="75109" y="35145"/>
                  <a:pt x="75104" y="35135"/>
                  <a:pt x="75099" y="35129"/>
                </a:cubicBezTo>
                <a:cubicBezTo>
                  <a:pt x="75104" y="35123"/>
                  <a:pt x="75109" y="35118"/>
                  <a:pt x="75114" y="35118"/>
                </a:cubicBezTo>
                <a:cubicBezTo>
                  <a:pt x="75104" y="35103"/>
                  <a:pt x="75087" y="35091"/>
                  <a:pt x="75077" y="35081"/>
                </a:cubicBezTo>
                <a:cubicBezTo>
                  <a:pt x="74867" y="34645"/>
                  <a:pt x="74673" y="34211"/>
                  <a:pt x="74551" y="33732"/>
                </a:cubicBezTo>
                <a:cubicBezTo>
                  <a:pt x="74319" y="32846"/>
                  <a:pt x="73847" y="32061"/>
                  <a:pt x="73659" y="31159"/>
                </a:cubicBezTo>
                <a:cubicBezTo>
                  <a:pt x="73552" y="30655"/>
                  <a:pt x="73481" y="30144"/>
                  <a:pt x="73423" y="29628"/>
                </a:cubicBezTo>
                <a:cubicBezTo>
                  <a:pt x="73379" y="28371"/>
                  <a:pt x="73036" y="26259"/>
                  <a:pt x="72965" y="25002"/>
                </a:cubicBezTo>
                <a:cubicBezTo>
                  <a:pt x="72959" y="24888"/>
                  <a:pt x="72982" y="24848"/>
                  <a:pt x="73021" y="24848"/>
                </a:cubicBezTo>
                <a:cubicBezTo>
                  <a:pt x="73114" y="24848"/>
                  <a:pt x="73301" y="25065"/>
                  <a:pt x="73454" y="25065"/>
                </a:cubicBezTo>
                <a:cubicBezTo>
                  <a:pt x="73479" y="25065"/>
                  <a:pt x="73502" y="25059"/>
                  <a:pt x="73525" y="25046"/>
                </a:cubicBezTo>
                <a:lnTo>
                  <a:pt x="73525" y="25019"/>
                </a:lnTo>
                <a:lnTo>
                  <a:pt x="73525" y="24992"/>
                </a:lnTo>
                <a:cubicBezTo>
                  <a:pt x="73277" y="24878"/>
                  <a:pt x="73111" y="24712"/>
                  <a:pt x="72992" y="24487"/>
                </a:cubicBezTo>
                <a:lnTo>
                  <a:pt x="72992" y="23197"/>
                </a:lnTo>
                <a:cubicBezTo>
                  <a:pt x="72992" y="22795"/>
                  <a:pt x="72923" y="22381"/>
                  <a:pt x="73014" y="21999"/>
                </a:cubicBezTo>
                <a:cubicBezTo>
                  <a:pt x="73057" y="21816"/>
                  <a:pt x="73004" y="21597"/>
                  <a:pt x="72939" y="21409"/>
                </a:cubicBezTo>
                <a:cubicBezTo>
                  <a:pt x="72213" y="20791"/>
                  <a:pt x="71224" y="20613"/>
                  <a:pt x="70285" y="20581"/>
                </a:cubicBezTo>
                <a:cubicBezTo>
                  <a:pt x="70252" y="20619"/>
                  <a:pt x="70199" y="20646"/>
                  <a:pt x="70113" y="20662"/>
                </a:cubicBezTo>
                <a:cubicBezTo>
                  <a:pt x="70089" y="20665"/>
                  <a:pt x="70066" y="20666"/>
                  <a:pt x="70043" y="20666"/>
                </a:cubicBezTo>
                <a:cubicBezTo>
                  <a:pt x="70020" y="20666"/>
                  <a:pt x="69998" y="20665"/>
                  <a:pt x="69974" y="20662"/>
                </a:cubicBezTo>
                <a:cubicBezTo>
                  <a:pt x="69806" y="20651"/>
                  <a:pt x="69667" y="20566"/>
                  <a:pt x="69592" y="20405"/>
                </a:cubicBezTo>
                <a:cubicBezTo>
                  <a:pt x="69329" y="20296"/>
                  <a:pt x="69097" y="20125"/>
                  <a:pt x="68846" y="19974"/>
                </a:cubicBezTo>
                <a:cubicBezTo>
                  <a:pt x="68834" y="19974"/>
                  <a:pt x="68824" y="19964"/>
                  <a:pt x="68819" y="19964"/>
                </a:cubicBezTo>
                <a:cubicBezTo>
                  <a:pt x="68496" y="19850"/>
                  <a:pt x="68189" y="19684"/>
                  <a:pt x="67879" y="19528"/>
                </a:cubicBezTo>
                <a:cubicBezTo>
                  <a:pt x="67599" y="19421"/>
                  <a:pt x="67314" y="19329"/>
                  <a:pt x="67024" y="19249"/>
                </a:cubicBezTo>
                <a:cubicBezTo>
                  <a:pt x="66965" y="19233"/>
                  <a:pt x="66932" y="19185"/>
                  <a:pt x="66927" y="19136"/>
                </a:cubicBezTo>
                <a:cubicBezTo>
                  <a:pt x="66756" y="19092"/>
                  <a:pt x="66582" y="19066"/>
                  <a:pt x="66402" y="19066"/>
                </a:cubicBezTo>
                <a:cubicBezTo>
                  <a:pt x="66096" y="19066"/>
                  <a:pt x="65774" y="19142"/>
                  <a:pt x="65429" y="19334"/>
                </a:cubicBezTo>
                <a:cubicBezTo>
                  <a:pt x="65369" y="19370"/>
                  <a:pt x="65281" y="19392"/>
                  <a:pt x="65182" y="19392"/>
                </a:cubicBezTo>
                <a:cubicBezTo>
                  <a:pt x="65147" y="19392"/>
                  <a:pt x="65111" y="19389"/>
                  <a:pt x="65074" y="19383"/>
                </a:cubicBezTo>
                <a:cubicBezTo>
                  <a:pt x="64418" y="19475"/>
                  <a:pt x="63779" y="19431"/>
                  <a:pt x="63113" y="19517"/>
                </a:cubicBezTo>
                <a:cubicBezTo>
                  <a:pt x="63044" y="19528"/>
                  <a:pt x="62973" y="19539"/>
                  <a:pt x="62908" y="19545"/>
                </a:cubicBezTo>
                <a:cubicBezTo>
                  <a:pt x="62732" y="19604"/>
                  <a:pt x="62549" y="19624"/>
                  <a:pt x="62360" y="19631"/>
                </a:cubicBezTo>
                <a:cubicBezTo>
                  <a:pt x="61861" y="19716"/>
                  <a:pt x="61356" y="19829"/>
                  <a:pt x="60884" y="19969"/>
                </a:cubicBezTo>
                <a:cubicBezTo>
                  <a:pt x="60734" y="20089"/>
                  <a:pt x="60570" y="20175"/>
                  <a:pt x="60363" y="20175"/>
                </a:cubicBezTo>
                <a:cubicBezTo>
                  <a:pt x="60310" y="20175"/>
                  <a:pt x="60255" y="20169"/>
                  <a:pt x="60196" y="20157"/>
                </a:cubicBezTo>
                <a:cubicBezTo>
                  <a:pt x="60201" y="20157"/>
                  <a:pt x="60201" y="20157"/>
                  <a:pt x="60201" y="20152"/>
                </a:cubicBezTo>
                <a:lnTo>
                  <a:pt x="60201" y="20152"/>
                </a:lnTo>
                <a:cubicBezTo>
                  <a:pt x="60122" y="20165"/>
                  <a:pt x="60045" y="20171"/>
                  <a:pt x="59968" y="20171"/>
                </a:cubicBezTo>
                <a:cubicBezTo>
                  <a:pt x="59794" y="20171"/>
                  <a:pt x="59625" y="20138"/>
                  <a:pt x="59449" y="20071"/>
                </a:cubicBezTo>
                <a:cubicBezTo>
                  <a:pt x="59191" y="19996"/>
                  <a:pt x="58944" y="19882"/>
                  <a:pt x="58703" y="19753"/>
                </a:cubicBezTo>
                <a:cubicBezTo>
                  <a:pt x="58407" y="19673"/>
                  <a:pt x="58122" y="19668"/>
                  <a:pt x="57768" y="19663"/>
                </a:cubicBezTo>
                <a:cubicBezTo>
                  <a:pt x="57719" y="19663"/>
                  <a:pt x="57676" y="19663"/>
                  <a:pt x="57634" y="19657"/>
                </a:cubicBezTo>
                <a:cubicBezTo>
                  <a:pt x="57591" y="19669"/>
                  <a:pt x="57549" y="19675"/>
                  <a:pt x="57506" y="19675"/>
                </a:cubicBezTo>
                <a:cubicBezTo>
                  <a:pt x="57415" y="19675"/>
                  <a:pt x="57323" y="19646"/>
                  <a:pt x="57235" y="19587"/>
                </a:cubicBezTo>
                <a:cubicBezTo>
                  <a:pt x="57188" y="19572"/>
                  <a:pt x="57133" y="19555"/>
                  <a:pt x="57086" y="19534"/>
                </a:cubicBezTo>
                <a:cubicBezTo>
                  <a:pt x="56889" y="19452"/>
                  <a:pt x="56566" y="19322"/>
                  <a:pt x="56295" y="19322"/>
                </a:cubicBezTo>
                <a:cubicBezTo>
                  <a:pt x="56248" y="19322"/>
                  <a:pt x="56204" y="19326"/>
                  <a:pt x="56161" y="19334"/>
                </a:cubicBezTo>
                <a:cubicBezTo>
                  <a:pt x="56086" y="19431"/>
                  <a:pt x="56005" y="19539"/>
                  <a:pt x="55925" y="19614"/>
                </a:cubicBezTo>
                <a:cubicBezTo>
                  <a:pt x="55920" y="19577"/>
                  <a:pt x="55914" y="19545"/>
                  <a:pt x="55914" y="19507"/>
                </a:cubicBezTo>
                <a:cubicBezTo>
                  <a:pt x="55893" y="19545"/>
                  <a:pt x="55876" y="19577"/>
                  <a:pt x="55866" y="19619"/>
                </a:cubicBezTo>
                <a:cubicBezTo>
                  <a:pt x="55861" y="19636"/>
                  <a:pt x="55856" y="19646"/>
                  <a:pt x="55856" y="19657"/>
                </a:cubicBezTo>
                <a:cubicBezTo>
                  <a:pt x="55871" y="19652"/>
                  <a:pt x="55888" y="19652"/>
                  <a:pt x="55903" y="19652"/>
                </a:cubicBezTo>
                <a:cubicBezTo>
                  <a:pt x="55920" y="19867"/>
                  <a:pt x="55876" y="20028"/>
                  <a:pt x="55791" y="20152"/>
                </a:cubicBezTo>
                <a:cubicBezTo>
                  <a:pt x="55753" y="20179"/>
                  <a:pt x="55710" y="20200"/>
                  <a:pt x="55667" y="20221"/>
                </a:cubicBezTo>
                <a:cubicBezTo>
                  <a:pt x="55603" y="20248"/>
                  <a:pt x="55533" y="20264"/>
                  <a:pt x="55462" y="20264"/>
                </a:cubicBezTo>
                <a:cubicBezTo>
                  <a:pt x="55393" y="20264"/>
                  <a:pt x="55323" y="20248"/>
                  <a:pt x="55259" y="20221"/>
                </a:cubicBezTo>
                <a:cubicBezTo>
                  <a:pt x="55205" y="20200"/>
                  <a:pt x="55162" y="20167"/>
                  <a:pt x="55119" y="20135"/>
                </a:cubicBezTo>
                <a:cubicBezTo>
                  <a:pt x="55103" y="20043"/>
                  <a:pt x="55108" y="19942"/>
                  <a:pt x="55114" y="19840"/>
                </a:cubicBezTo>
                <a:cubicBezTo>
                  <a:pt x="54889" y="19528"/>
                  <a:pt x="54716" y="19260"/>
                  <a:pt x="54276" y="19205"/>
                </a:cubicBezTo>
                <a:cubicBezTo>
                  <a:pt x="54044" y="19185"/>
                  <a:pt x="53846" y="19115"/>
                  <a:pt x="53632" y="19024"/>
                </a:cubicBezTo>
                <a:cubicBezTo>
                  <a:pt x="53369" y="18907"/>
                  <a:pt x="53140" y="18815"/>
                  <a:pt x="52929" y="18815"/>
                </a:cubicBezTo>
                <a:cubicBezTo>
                  <a:pt x="52713" y="18815"/>
                  <a:pt x="52516" y="18912"/>
                  <a:pt x="52325" y="19180"/>
                </a:cubicBezTo>
                <a:cubicBezTo>
                  <a:pt x="52229" y="19314"/>
                  <a:pt x="52100" y="19394"/>
                  <a:pt x="51961" y="19470"/>
                </a:cubicBezTo>
                <a:cubicBezTo>
                  <a:pt x="51861" y="19544"/>
                  <a:pt x="51746" y="19595"/>
                  <a:pt x="51588" y="19595"/>
                </a:cubicBezTo>
                <a:cubicBezTo>
                  <a:pt x="51566" y="19595"/>
                  <a:pt x="51543" y="19594"/>
                  <a:pt x="51520" y="19592"/>
                </a:cubicBezTo>
                <a:cubicBezTo>
                  <a:pt x="51026" y="19545"/>
                  <a:pt x="50865" y="19222"/>
                  <a:pt x="50756" y="18857"/>
                </a:cubicBezTo>
                <a:cubicBezTo>
                  <a:pt x="50607" y="18669"/>
                  <a:pt x="50451" y="18496"/>
                  <a:pt x="50273" y="18342"/>
                </a:cubicBezTo>
                <a:cubicBezTo>
                  <a:pt x="50225" y="18320"/>
                  <a:pt x="50188" y="18287"/>
                  <a:pt x="50156" y="18238"/>
                </a:cubicBezTo>
                <a:cubicBezTo>
                  <a:pt x="50032" y="18142"/>
                  <a:pt x="49893" y="18057"/>
                  <a:pt x="49737" y="17975"/>
                </a:cubicBezTo>
                <a:cubicBezTo>
                  <a:pt x="48194" y="17192"/>
                  <a:pt x="46340" y="16949"/>
                  <a:pt x="44681" y="16504"/>
                </a:cubicBezTo>
                <a:cubicBezTo>
                  <a:pt x="43252" y="16118"/>
                  <a:pt x="41619" y="15811"/>
                  <a:pt x="40394" y="14940"/>
                </a:cubicBezTo>
                <a:cubicBezTo>
                  <a:pt x="39975" y="14645"/>
                  <a:pt x="39690" y="14312"/>
                  <a:pt x="39513" y="13941"/>
                </a:cubicBezTo>
                <a:cubicBezTo>
                  <a:pt x="39308" y="13770"/>
                  <a:pt x="39293" y="13554"/>
                  <a:pt x="39314" y="13334"/>
                </a:cubicBezTo>
                <a:cubicBezTo>
                  <a:pt x="39228" y="12850"/>
                  <a:pt x="39271" y="12319"/>
                  <a:pt x="39405" y="11754"/>
                </a:cubicBezTo>
                <a:lnTo>
                  <a:pt x="39410" y="11749"/>
                </a:lnTo>
                <a:cubicBezTo>
                  <a:pt x="39470" y="9213"/>
                  <a:pt x="39556" y="6673"/>
                  <a:pt x="39636" y="4137"/>
                </a:cubicBezTo>
                <a:cubicBezTo>
                  <a:pt x="39648" y="3906"/>
                  <a:pt x="39653" y="3681"/>
                  <a:pt x="39663" y="3455"/>
                </a:cubicBezTo>
                <a:cubicBezTo>
                  <a:pt x="40061" y="1080"/>
                  <a:pt x="40061" y="1058"/>
                  <a:pt x="37708" y="887"/>
                </a:cubicBezTo>
                <a:cubicBezTo>
                  <a:pt x="33705" y="597"/>
                  <a:pt x="29698" y="328"/>
                  <a:pt x="25475" y="33"/>
                </a:cubicBezTo>
                <a:cubicBezTo>
                  <a:pt x="25391" y="38"/>
                  <a:pt x="25307" y="39"/>
                  <a:pt x="25222" y="39"/>
                </a:cubicBezTo>
                <a:cubicBezTo>
                  <a:pt x="24828" y="39"/>
                  <a:pt x="24426" y="0"/>
                  <a:pt x="24033" y="0"/>
                </a:cubicBezTo>
                <a:close/>
              </a:path>
            </a:pathLst>
          </a:custGeom>
          <a:noFill/>
          <a:ln w="19050" cap="flat" cmpd="sng">
            <a:solidFill>
              <a:srgbClr val="F2675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3B4DA5"/>
              </a:solidFill>
              <a:latin typeface="Segoe UI" panose="020B0502040204020203" pitchFamily="34" charset="0"/>
            </a:endParaRPr>
          </a:p>
        </p:txBody>
      </p:sp>
      <p:pic>
        <p:nvPicPr>
          <p:cNvPr id="7" name="Picture 6" descr="Map&#10;&#10;Description automatically generated">
            <a:extLst>
              <a:ext uri="{FF2B5EF4-FFF2-40B4-BE49-F238E27FC236}">
                <a16:creationId xmlns:a16="http://schemas.microsoft.com/office/drawing/2014/main" id="{E03C8BD9-3376-C9A1-C444-0FAC8AE3C68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7114" y="1202450"/>
            <a:ext cx="3932579" cy="3929886"/>
          </a:xfrm>
          <a:prstGeom prst="rect">
            <a:avLst/>
          </a:prstGeom>
        </p:spPr>
      </p:pic>
      <p:sp>
        <p:nvSpPr>
          <p:cNvPr id="8" name="Oval 7">
            <a:extLst>
              <a:ext uri="{FF2B5EF4-FFF2-40B4-BE49-F238E27FC236}">
                <a16:creationId xmlns:a16="http://schemas.microsoft.com/office/drawing/2014/main" id="{2781E71A-8D98-1E3D-0F0E-F10B9B3BA153}"/>
              </a:ext>
            </a:extLst>
          </p:cNvPr>
          <p:cNvSpPr/>
          <p:nvPr/>
        </p:nvSpPr>
        <p:spPr>
          <a:xfrm>
            <a:off x="1174237" y="1355398"/>
            <a:ext cx="3756833" cy="3756833"/>
          </a:xfrm>
          <a:prstGeom prst="ellipse">
            <a:avLst/>
          </a:prstGeom>
          <a:noFill/>
          <a:ln w="12700" cap="flat" cmpd="sng">
            <a:solidFill>
              <a:schemeClr val="bg1"/>
            </a:solidFill>
            <a:prstDash val="sysDot"/>
            <a:round/>
            <a:headEnd type="none" w="sm" len="sm"/>
            <a:tailEnd type="none" w="sm" len="sm"/>
          </a:ln>
        </p:spPr>
        <p:txBody>
          <a:bodyPr spcFirstLastPara="1" wrap="square" lIns="91425" tIns="91425" rIns="91425" bIns="91425" rtlCol="0" anchor="ctr" anchorCtr="0">
            <a:noAutofit/>
          </a:bodyPr>
          <a:lstStyle/>
          <a:p>
            <a:pPr marL="0" indent="0" algn="l" rtl="0">
              <a:spcBef>
                <a:spcPts val="0"/>
              </a:spcBef>
              <a:spcAft>
                <a:spcPts val="0"/>
              </a:spcAft>
              <a:buNone/>
            </a:pPr>
            <a:endParaRPr lang="en-US" dirty="0">
              <a:solidFill>
                <a:srgbClr val="3B4DA5"/>
              </a:solidFill>
              <a:latin typeface="Segoe UI" panose="020B0502040204020203" pitchFamily="34" charset="0"/>
            </a:endParaRPr>
          </a:p>
        </p:txBody>
      </p:sp>
    </p:spTree>
    <p:extLst>
      <p:ext uri="{BB962C8B-B14F-4D97-AF65-F5344CB8AC3E}">
        <p14:creationId xmlns:p14="http://schemas.microsoft.com/office/powerpoint/2010/main" val="9704467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AA0C9D36-8A9A-E063-8493-DF7D0E97DDA7}"/>
              </a:ext>
            </a:extLst>
          </p:cNvPr>
          <p:cNvGraphicFramePr>
            <a:graphicFrameLocks/>
          </p:cNvGraphicFramePr>
          <p:nvPr/>
        </p:nvGraphicFramePr>
        <p:xfrm>
          <a:off x="571501" y="1638300"/>
          <a:ext cx="10715624" cy="4179888"/>
        </p:xfrm>
        <a:graphic>
          <a:graphicData uri="http://schemas.openxmlformats.org/drawingml/2006/chart">
            <c:chart xmlns:c="http://schemas.openxmlformats.org/drawingml/2006/chart" xmlns:r="http://schemas.openxmlformats.org/officeDocument/2006/relationships" r:id="rId2"/>
          </a:graphicData>
        </a:graphic>
      </p:graphicFrame>
      <p:cxnSp>
        <p:nvCxnSpPr>
          <p:cNvPr id="4" name="Straight Arrow Connector 3">
            <a:extLst>
              <a:ext uri="{FF2B5EF4-FFF2-40B4-BE49-F238E27FC236}">
                <a16:creationId xmlns:a16="http://schemas.microsoft.com/office/drawing/2014/main" id="{07874DC3-2000-48ED-586B-05AEC8484B62}"/>
              </a:ext>
            </a:extLst>
          </p:cNvPr>
          <p:cNvCxnSpPr>
            <a:cxnSpLocks/>
          </p:cNvCxnSpPr>
          <p:nvPr/>
        </p:nvCxnSpPr>
        <p:spPr>
          <a:xfrm>
            <a:off x="5257800" y="2180465"/>
            <a:ext cx="1877219" cy="1088493"/>
          </a:xfrm>
          <a:prstGeom prst="straightConnector1">
            <a:avLst/>
          </a:prstGeom>
          <a:ln w="952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1">
            <a:extLst>
              <a:ext uri="{FF2B5EF4-FFF2-40B4-BE49-F238E27FC236}">
                <a16:creationId xmlns:a16="http://schemas.microsoft.com/office/drawing/2014/main" id="{9463C68E-8F45-8C82-AF73-4AC2D4ABDF85}"/>
              </a:ext>
            </a:extLst>
          </p:cNvPr>
          <p:cNvSpPr txBox="1"/>
          <p:nvPr/>
        </p:nvSpPr>
        <p:spPr>
          <a:xfrm>
            <a:off x="5815012" y="2519626"/>
            <a:ext cx="790575" cy="401400"/>
          </a:xfrm>
          <a:prstGeom prst="rect">
            <a:avLst/>
          </a:prstGeom>
          <a:solidFill>
            <a:schemeClr val="bg1"/>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00" b="1" dirty="0">
                <a:solidFill>
                  <a:srgbClr val="C00000"/>
                </a:solidFill>
                <a:latin typeface="Segoe UI" panose="020B0502040204020203" pitchFamily="34" charset="0"/>
                <a:cs typeface="Segoe UI" panose="020B0502040204020203" pitchFamily="34" charset="0"/>
              </a:rPr>
              <a:t>-17%</a:t>
            </a:r>
          </a:p>
        </p:txBody>
      </p:sp>
      <p:sp>
        <p:nvSpPr>
          <p:cNvPr id="6" name="TextBox 5">
            <a:extLst>
              <a:ext uri="{FF2B5EF4-FFF2-40B4-BE49-F238E27FC236}">
                <a16:creationId xmlns:a16="http://schemas.microsoft.com/office/drawing/2014/main" id="{BA75AAE2-8824-95DF-1A4E-37E750654875}"/>
              </a:ext>
            </a:extLst>
          </p:cNvPr>
          <p:cNvSpPr txBox="1"/>
          <p:nvPr/>
        </p:nvSpPr>
        <p:spPr>
          <a:xfrm>
            <a:off x="469900" y="435830"/>
            <a:ext cx="10829924" cy="1077218"/>
          </a:xfrm>
          <a:prstGeom prst="rect">
            <a:avLst/>
          </a:prstGeom>
          <a:noFill/>
        </p:spPr>
        <p:txBody>
          <a:bodyPr wrap="square">
            <a:spAutoFit/>
          </a:bodyPr>
          <a:lstStyle/>
          <a:p>
            <a:pPr rtl="0">
              <a:defRPr sz="1600" b="1" i="0" u="none" strike="noStrike" kern="1200" baseline="0">
                <a:solidFill>
                  <a:srgbClr val="44546A"/>
                </a:solidFill>
                <a:latin typeface="+mn-lt"/>
                <a:ea typeface="+mn-ea"/>
                <a:cs typeface="+mn-cs"/>
              </a:defRPr>
            </a:pPr>
            <a:r>
              <a:rPr lang="en-US" sz="3200" dirty="0">
                <a:solidFill>
                  <a:srgbClr val="082567"/>
                </a:solidFill>
                <a:latin typeface="Segoe UI" panose="020B0502040204020203" pitchFamily="34" charset="0"/>
                <a:cs typeface="Segoe UI" panose="020B0502040204020203" pitchFamily="34" charset="0"/>
              </a:rPr>
              <a:t>Current Middle Schoolers Face Alarming Declines in Cohort Math Scores Since 2019</a:t>
            </a:r>
          </a:p>
        </p:txBody>
      </p:sp>
      <p:sp>
        <p:nvSpPr>
          <p:cNvPr id="2" name="Google Shape;648;p36">
            <a:extLst>
              <a:ext uri="{FF2B5EF4-FFF2-40B4-BE49-F238E27FC236}">
                <a16:creationId xmlns:a16="http://schemas.microsoft.com/office/drawing/2014/main" id="{56711307-43D9-AF77-A5A2-745F29B0C5AF}"/>
              </a:ext>
            </a:extLst>
          </p:cNvPr>
          <p:cNvSpPr txBox="1"/>
          <p:nvPr/>
        </p:nvSpPr>
        <p:spPr>
          <a:xfrm>
            <a:off x="1513204" y="6466787"/>
            <a:ext cx="2405984" cy="23079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dirty="0">
                <a:solidFill>
                  <a:schemeClr val="bg1"/>
                </a:solidFill>
                <a:latin typeface="Segoe UI" panose="020B0502040204020203" pitchFamily="34" charset="0"/>
                <a:ea typeface="Segoe UI"/>
                <a:cs typeface="Segoe UI" panose="020B0502040204020203" pitchFamily="34" charset="0"/>
                <a:sym typeface="Segoe UI"/>
              </a:rPr>
              <a:t>Source: Texas Education Agency</a:t>
            </a:r>
          </a:p>
        </p:txBody>
      </p:sp>
    </p:spTree>
    <p:extLst>
      <p:ext uri="{BB962C8B-B14F-4D97-AF65-F5344CB8AC3E}">
        <p14:creationId xmlns:p14="http://schemas.microsoft.com/office/powerpoint/2010/main" val="14586141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96013-5CC2-7DAF-DFDC-7C90478866D2}"/>
              </a:ext>
            </a:extLst>
          </p:cNvPr>
          <p:cNvSpPr>
            <a:spLocks noGrp="1"/>
          </p:cNvSpPr>
          <p:nvPr>
            <p:ph type="title"/>
          </p:nvPr>
        </p:nvSpPr>
        <p:spPr>
          <a:xfrm>
            <a:off x="587718" y="523045"/>
            <a:ext cx="9286240" cy="429555"/>
          </a:xfrm>
        </p:spPr>
        <p:txBody>
          <a:bodyPr>
            <a:normAutofit fontScale="90000"/>
          </a:bodyPr>
          <a:lstStyle/>
          <a:p>
            <a:r>
              <a:rPr lang="en-US" dirty="0"/>
              <a:t>Accountability Can Drive Results At Low-Performing Schools</a:t>
            </a:r>
          </a:p>
        </p:txBody>
      </p:sp>
      <p:grpSp>
        <p:nvGrpSpPr>
          <p:cNvPr id="25" name="Group 24">
            <a:extLst>
              <a:ext uri="{FF2B5EF4-FFF2-40B4-BE49-F238E27FC236}">
                <a16:creationId xmlns:a16="http://schemas.microsoft.com/office/drawing/2014/main" id="{FB575A1B-D29A-D4BE-FA37-909503F1AAF1}"/>
              </a:ext>
            </a:extLst>
          </p:cNvPr>
          <p:cNvGrpSpPr/>
          <p:nvPr/>
        </p:nvGrpSpPr>
        <p:grpSpPr>
          <a:xfrm>
            <a:off x="5804034" y="1251284"/>
            <a:ext cx="5940926" cy="4985887"/>
            <a:chOff x="5885274" y="1154578"/>
            <a:chExt cx="5853780" cy="4499798"/>
          </a:xfrm>
        </p:grpSpPr>
        <p:graphicFrame>
          <p:nvGraphicFramePr>
            <p:cNvPr id="7" name="Chart 6">
              <a:extLst>
                <a:ext uri="{FF2B5EF4-FFF2-40B4-BE49-F238E27FC236}">
                  <a16:creationId xmlns:a16="http://schemas.microsoft.com/office/drawing/2014/main" id="{FD935F16-5BE9-6EBB-0471-B091711ED5FE}"/>
                </a:ext>
              </a:extLst>
            </p:cNvPr>
            <p:cNvGraphicFramePr/>
            <p:nvPr>
              <p:extLst>
                <p:ext uri="{D42A27DB-BD31-4B8C-83A1-F6EECF244321}">
                  <p14:modId xmlns:p14="http://schemas.microsoft.com/office/powerpoint/2010/main" val="2976031472"/>
                </p:ext>
              </p:extLst>
            </p:nvPr>
          </p:nvGraphicFramePr>
          <p:xfrm>
            <a:off x="5885274" y="1826108"/>
            <a:ext cx="5742402" cy="382826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95832C9F-AD91-8AA3-EAA8-558D6273F35B}"/>
                </a:ext>
              </a:extLst>
            </p:cNvPr>
            <p:cNvSpPr txBox="1"/>
            <p:nvPr/>
          </p:nvSpPr>
          <p:spPr>
            <a:xfrm>
              <a:off x="6487052" y="5015480"/>
              <a:ext cx="1097152" cy="369332"/>
            </a:xfrm>
            <a:prstGeom prst="rect">
              <a:avLst/>
            </a:prstGeom>
            <a:noFill/>
          </p:spPr>
          <p:txBody>
            <a:bodyPr wrap="square">
              <a:spAutoFit/>
            </a:bodyPr>
            <a:lstStyle/>
            <a:p>
              <a:pPr algn="ctr"/>
              <a:r>
                <a:rPr lang="en-US" sz="900" dirty="0">
                  <a:latin typeface="Segoe UI" panose="020B0502040204020203" pitchFamily="34" charset="0"/>
                </a:rPr>
                <a:t>Passing 10th grade math exam</a:t>
              </a:r>
            </a:p>
          </p:txBody>
        </p:sp>
        <p:sp>
          <p:nvSpPr>
            <p:cNvPr id="11" name="TextBox 10">
              <a:extLst>
                <a:ext uri="{FF2B5EF4-FFF2-40B4-BE49-F238E27FC236}">
                  <a16:creationId xmlns:a16="http://schemas.microsoft.com/office/drawing/2014/main" id="{6BD41880-97EF-435A-62D2-4958FD38B5AB}"/>
                </a:ext>
              </a:extLst>
            </p:cNvPr>
            <p:cNvSpPr txBox="1"/>
            <p:nvPr/>
          </p:nvSpPr>
          <p:spPr>
            <a:xfrm>
              <a:off x="7495307" y="5015480"/>
              <a:ext cx="1346065" cy="369332"/>
            </a:xfrm>
            <a:prstGeom prst="rect">
              <a:avLst/>
            </a:prstGeom>
            <a:noFill/>
          </p:spPr>
          <p:txBody>
            <a:bodyPr wrap="square">
              <a:spAutoFit/>
            </a:bodyPr>
            <a:lstStyle/>
            <a:p>
              <a:pPr algn="ctr"/>
              <a:r>
                <a:rPr lang="en-US" sz="900" dirty="0">
                  <a:latin typeface="Segoe UI" panose="020B0502040204020203" pitchFamily="34" charset="0"/>
                </a:rPr>
                <a:t>Attending a four-year college</a:t>
              </a:r>
            </a:p>
          </p:txBody>
        </p:sp>
        <p:sp>
          <p:nvSpPr>
            <p:cNvPr id="12" name="TextBox 11">
              <a:extLst>
                <a:ext uri="{FF2B5EF4-FFF2-40B4-BE49-F238E27FC236}">
                  <a16:creationId xmlns:a16="http://schemas.microsoft.com/office/drawing/2014/main" id="{88AA3853-3961-1E28-E6D9-81C03792EA12}"/>
                </a:ext>
              </a:extLst>
            </p:cNvPr>
            <p:cNvSpPr txBox="1"/>
            <p:nvPr/>
          </p:nvSpPr>
          <p:spPr>
            <a:xfrm>
              <a:off x="8786515" y="5015480"/>
              <a:ext cx="1173978" cy="369332"/>
            </a:xfrm>
            <a:prstGeom prst="rect">
              <a:avLst/>
            </a:prstGeom>
            <a:noFill/>
          </p:spPr>
          <p:txBody>
            <a:bodyPr wrap="square">
              <a:spAutoFit/>
            </a:bodyPr>
            <a:lstStyle/>
            <a:p>
              <a:pPr algn="ctr"/>
              <a:r>
                <a:rPr lang="en-US" sz="900" dirty="0">
                  <a:latin typeface="Segoe UI" panose="020B0502040204020203" pitchFamily="34" charset="0"/>
                </a:rPr>
                <a:t>Receiving a bachelor’s degree </a:t>
              </a:r>
            </a:p>
          </p:txBody>
        </p:sp>
        <p:sp>
          <p:nvSpPr>
            <p:cNvPr id="13" name="TextBox 12">
              <a:extLst>
                <a:ext uri="{FF2B5EF4-FFF2-40B4-BE49-F238E27FC236}">
                  <a16:creationId xmlns:a16="http://schemas.microsoft.com/office/drawing/2014/main" id="{970E99A3-7A68-4193-5ED1-FCD570F8F73B}"/>
                </a:ext>
              </a:extLst>
            </p:cNvPr>
            <p:cNvSpPr txBox="1"/>
            <p:nvPr/>
          </p:nvSpPr>
          <p:spPr>
            <a:xfrm>
              <a:off x="10087963" y="5015480"/>
              <a:ext cx="873833" cy="369332"/>
            </a:xfrm>
            <a:prstGeom prst="rect">
              <a:avLst/>
            </a:prstGeom>
            <a:noFill/>
          </p:spPr>
          <p:txBody>
            <a:bodyPr wrap="square">
              <a:spAutoFit/>
            </a:bodyPr>
            <a:lstStyle/>
            <a:p>
              <a:pPr algn="ctr"/>
              <a:r>
                <a:rPr lang="en-US" sz="900" dirty="0">
                  <a:latin typeface="Segoe UI" panose="020B0502040204020203" pitchFamily="34" charset="0"/>
                </a:rPr>
                <a:t>Earnings at age 25</a:t>
              </a:r>
            </a:p>
          </p:txBody>
        </p:sp>
        <p:sp>
          <p:nvSpPr>
            <p:cNvPr id="9" name="Rectangle 8">
              <a:extLst>
                <a:ext uri="{FF2B5EF4-FFF2-40B4-BE49-F238E27FC236}">
                  <a16:creationId xmlns:a16="http://schemas.microsoft.com/office/drawing/2014/main" id="{57531330-AE6F-4D39-DF18-53149E63B5B4}"/>
                </a:ext>
              </a:extLst>
            </p:cNvPr>
            <p:cNvSpPr/>
            <p:nvPr/>
          </p:nvSpPr>
          <p:spPr>
            <a:xfrm>
              <a:off x="10210714" y="4298236"/>
              <a:ext cx="558946" cy="185778"/>
            </a:xfrm>
            <a:prstGeom prst="rect">
              <a:avLst/>
            </a:prstGeom>
            <a:solidFill>
              <a:srgbClr val="F268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ysClr val="windowText" lastClr="000000"/>
                  </a:solidFill>
                  <a:latin typeface="Segoe UI" panose="020B0502040204020203" pitchFamily="34" charset="0"/>
                </a:rPr>
                <a:t>$298</a:t>
              </a:r>
            </a:p>
          </p:txBody>
        </p:sp>
        <p:sp>
          <p:nvSpPr>
            <p:cNvPr id="14" name="TextBox 13">
              <a:extLst>
                <a:ext uri="{FF2B5EF4-FFF2-40B4-BE49-F238E27FC236}">
                  <a16:creationId xmlns:a16="http://schemas.microsoft.com/office/drawing/2014/main" id="{83196679-937F-E9BB-F3CC-C395A16E8A07}"/>
                </a:ext>
              </a:extLst>
            </p:cNvPr>
            <p:cNvSpPr txBox="1"/>
            <p:nvPr/>
          </p:nvSpPr>
          <p:spPr>
            <a:xfrm>
              <a:off x="11073174" y="1795972"/>
              <a:ext cx="554501" cy="276999"/>
            </a:xfrm>
            <a:prstGeom prst="rect">
              <a:avLst/>
            </a:prstGeom>
            <a:noFill/>
          </p:spPr>
          <p:txBody>
            <a:bodyPr wrap="square" rtlCol="0">
              <a:spAutoFit/>
            </a:bodyPr>
            <a:lstStyle/>
            <a:p>
              <a:r>
                <a:rPr lang="en-US" sz="1200" dirty="0">
                  <a:latin typeface="Segoe UI" panose="020B0502040204020203" pitchFamily="34" charset="0"/>
                </a:rPr>
                <a:t>1000</a:t>
              </a:r>
            </a:p>
          </p:txBody>
        </p:sp>
        <p:sp>
          <p:nvSpPr>
            <p:cNvPr id="16" name="TextBox 15">
              <a:extLst>
                <a:ext uri="{FF2B5EF4-FFF2-40B4-BE49-F238E27FC236}">
                  <a16:creationId xmlns:a16="http://schemas.microsoft.com/office/drawing/2014/main" id="{9C8F37F5-B0CA-84D1-C39A-BFDDB8B4D590}"/>
                </a:ext>
              </a:extLst>
            </p:cNvPr>
            <p:cNvSpPr txBox="1"/>
            <p:nvPr/>
          </p:nvSpPr>
          <p:spPr>
            <a:xfrm>
              <a:off x="11073175" y="2368554"/>
              <a:ext cx="500256" cy="276999"/>
            </a:xfrm>
            <a:prstGeom prst="rect">
              <a:avLst/>
            </a:prstGeom>
            <a:noFill/>
          </p:spPr>
          <p:txBody>
            <a:bodyPr wrap="square" rtlCol="0">
              <a:spAutoFit/>
            </a:bodyPr>
            <a:lstStyle/>
            <a:p>
              <a:r>
                <a:rPr lang="en-US" sz="1200" dirty="0">
                  <a:latin typeface="Segoe UI" panose="020B0502040204020203" pitchFamily="34" charset="0"/>
                </a:rPr>
                <a:t>800</a:t>
              </a:r>
            </a:p>
          </p:txBody>
        </p:sp>
        <p:sp>
          <p:nvSpPr>
            <p:cNvPr id="17" name="TextBox 16">
              <a:extLst>
                <a:ext uri="{FF2B5EF4-FFF2-40B4-BE49-F238E27FC236}">
                  <a16:creationId xmlns:a16="http://schemas.microsoft.com/office/drawing/2014/main" id="{E2B3CC4D-62C9-BD1F-374D-72240C217CF4}"/>
                </a:ext>
              </a:extLst>
            </p:cNvPr>
            <p:cNvSpPr txBox="1"/>
            <p:nvPr/>
          </p:nvSpPr>
          <p:spPr>
            <a:xfrm>
              <a:off x="11073175" y="2959219"/>
              <a:ext cx="500256" cy="276999"/>
            </a:xfrm>
            <a:prstGeom prst="rect">
              <a:avLst/>
            </a:prstGeom>
            <a:noFill/>
          </p:spPr>
          <p:txBody>
            <a:bodyPr wrap="square" rtlCol="0">
              <a:spAutoFit/>
            </a:bodyPr>
            <a:lstStyle/>
            <a:p>
              <a:r>
                <a:rPr lang="en-US" sz="1200" dirty="0">
                  <a:latin typeface="Segoe UI" panose="020B0502040204020203" pitchFamily="34" charset="0"/>
                </a:rPr>
                <a:t>600</a:t>
              </a:r>
            </a:p>
          </p:txBody>
        </p:sp>
        <p:sp>
          <p:nvSpPr>
            <p:cNvPr id="18" name="TextBox 17">
              <a:extLst>
                <a:ext uri="{FF2B5EF4-FFF2-40B4-BE49-F238E27FC236}">
                  <a16:creationId xmlns:a16="http://schemas.microsoft.com/office/drawing/2014/main" id="{23F3D037-69C8-C70B-854A-27A56E8619C0}"/>
                </a:ext>
              </a:extLst>
            </p:cNvPr>
            <p:cNvSpPr txBox="1"/>
            <p:nvPr/>
          </p:nvSpPr>
          <p:spPr>
            <a:xfrm>
              <a:off x="11073175" y="3555910"/>
              <a:ext cx="500256" cy="276999"/>
            </a:xfrm>
            <a:prstGeom prst="rect">
              <a:avLst/>
            </a:prstGeom>
            <a:noFill/>
          </p:spPr>
          <p:txBody>
            <a:bodyPr wrap="square" rtlCol="0">
              <a:spAutoFit/>
            </a:bodyPr>
            <a:lstStyle/>
            <a:p>
              <a:r>
                <a:rPr lang="en-US" sz="1200" dirty="0">
                  <a:latin typeface="Segoe UI" panose="020B0502040204020203" pitchFamily="34" charset="0"/>
                </a:rPr>
                <a:t>400</a:t>
              </a:r>
            </a:p>
          </p:txBody>
        </p:sp>
        <p:sp>
          <p:nvSpPr>
            <p:cNvPr id="19" name="TextBox 18">
              <a:extLst>
                <a:ext uri="{FF2B5EF4-FFF2-40B4-BE49-F238E27FC236}">
                  <a16:creationId xmlns:a16="http://schemas.microsoft.com/office/drawing/2014/main" id="{569C0C16-3D30-8ED7-11AB-B10BF72F3A51}"/>
                </a:ext>
              </a:extLst>
            </p:cNvPr>
            <p:cNvSpPr txBox="1"/>
            <p:nvPr/>
          </p:nvSpPr>
          <p:spPr>
            <a:xfrm>
              <a:off x="11073175" y="4134520"/>
              <a:ext cx="500256" cy="276999"/>
            </a:xfrm>
            <a:prstGeom prst="rect">
              <a:avLst/>
            </a:prstGeom>
            <a:noFill/>
          </p:spPr>
          <p:txBody>
            <a:bodyPr wrap="square" rtlCol="0">
              <a:spAutoFit/>
            </a:bodyPr>
            <a:lstStyle/>
            <a:p>
              <a:r>
                <a:rPr lang="en-US" sz="1200" dirty="0">
                  <a:latin typeface="Segoe UI" panose="020B0502040204020203" pitchFamily="34" charset="0"/>
                </a:rPr>
                <a:t>200</a:t>
              </a:r>
            </a:p>
          </p:txBody>
        </p:sp>
        <p:sp>
          <p:nvSpPr>
            <p:cNvPr id="20" name="TextBox 19">
              <a:extLst>
                <a:ext uri="{FF2B5EF4-FFF2-40B4-BE49-F238E27FC236}">
                  <a16:creationId xmlns:a16="http://schemas.microsoft.com/office/drawing/2014/main" id="{9C3147B5-FA0D-A44B-17A0-97BF66B24171}"/>
                </a:ext>
              </a:extLst>
            </p:cNvPr>
            <p:cNvSpPr txBox="1"/>
            <p:nvPr/>
          </p:nvSpPr>
          <p:spPr>
            <a:xfrm>
              <a:off x="11073175" y="4695048"/>
              <a:ext cx="500256" cy="276999"/>
            </a:xfrm>
            <a:prstGeom prst="rect">
              <a:avLst/>
            </a:prstGeom>
            <a:noFill/>
          </p:spPr>
          <p:txBody>
            <a:bodyPr wrap="square" rtlCol="0">
              <a:spAutoFit/>
            </a:bodyPr>
            <a:lstStyle/>
            <a:p>
              <a:r>
                <a:rPr lang="en-US" sz="1200" dirty="0">
                  <a:latin typeface="Segoe UI" panose="020B0502040204020203" pitchFamily="34" charset="0"/>
                </a:rPr>
                <a:t>0</a:t>
              </a:r>
            </a:p>
          </p:txBody>
        </p:sp>
        <p:sp>
          <p:nvSpPr>
            <p:cNvPr id="15" name="TextBox 14">
              <a:extLst>
                <a:ext uri="{FF2B5EF4-FFF2-40B4-BE49-F238E27FC236}">
                  <a16:creationId xmlns:a16="http://schemas.microsoft.com/office/drawing/2014/main" id="{89119DB2-9049-391F-F5C9-CD0E9DA11ED5}"/>
                </a:ext>
              </a:extLst>
            </p:cNvPr>
            <p:cNvSpPr txBox="1"/>
            <p:nvPr/>
          </p:nvSpPr>
          <p:spPr>
            <a:xfrm>
              <a:off x="6009494" y="1154578"/>
              <a:ext cx="5104586" cy="584775"/>
            </a:xfrm>
            <a:prstGeom prst="rect">
              <a:avLst/>
            </a:prstGeom>
            <a:noFill/>
          </p:spPr>
          <p:txBody>
            <a:bodyPr wrap="square" rtlCol="0">
              <a:spAutoFit/>
            </a:bodyPr>
            <a:lstStyle/>
            <a:p>
              <a:r>
                <a:rPr lang="en-US" sz="1600" b="1" dirty="0">
                  <a:latin typeface="Segoe UI" panose="020B0502040204020203" pitchFamily="34" charset="0"/>
                </a:rPr>
                <a:t>Students at school facing a low-performance rating saw gains in their college and career readiness </a:t>
              </a:r>
            </a:p>
          </p:txBody>
        </p:sp>
        <p:sp>
          <p:nvSpPr>
            <p:cNvPr id="23" name="TextBox 22">
              <a:extLst>
                <a:ext uri="{FF2B5EF4-FFF2-40B4-BE49-F238E27FC236}">
                  <a16:creationId xmlns:a16="http://schemas.microsoft.com/office/drawing/2014/main" id="{D596E138-0A78-D85E-D3B5-DBA08E806887}"/>
                </a:ext>
              </a:extLst>
            </p:cNvPr>
            <p:cNvSpPr txBox="1"/>
            <p:nvPr/>
          </p:nvSpPr>
          <p:spPr>
            <a:xfrm rot="16200000">
              <a:off x="11212573" y="3058913"/>
              <a:ext cx="775963" cy="276999"/>
            </a:xfrm>
            <a:prstGeom prst="rect">
              <a:avLst/>
            </a:prstGeom>
            <a:noFill/>
          </p:spPr>
          <p:txBody>
            <a:bodyPr wrap="square" rtlCol="0">
              <a:spAutoFit/>
            </a:bodyPr>
            <a:lstStyle/>
            <a:p>
              <a:r>
                <a:rPr lang="en-US" sz="1200" dirty="0">
                  <a:latin typeface="Segoe UI" panose="020B0502040204020203" pitchFamily="34" charset="0"/>
                </a:rPr>
                <a:t>Dollars</a:t>
              </a:r>
            </a:p>
          </p:txBody>
        </p:sp>
      </p:grpSp>
      <p:sp>
        <p:nvSpPr>
          <p:cNvPr id="24" name="TextBox 23">
            <a:extLst>
              <a:ext uri="{FF2B5EF4-FFF2-40B4-BE49-F238E27FC236}">
                <a16:creationId xmlns:a16="http://schemas.microsoft.com/office/drawing/2014/main" id="{AA357D4F-8D7B-8E95-33F8-ED29D19CA166}"/>
              </a:ext>
            </a:extLst>
          </p:cNvPr>
          <p:cNvSpPr txBox="1"/>
          <p:nvPr/>
        </p:nvSpPr>
        <p:spPr>
          <a:xfrm>
            <a:off x="587718" y="1662015"/>
            <a:ext cx="4459323" cy="3539430"/>
          </a:xfrm>
          <a:prstGeom prst="rect">
            <a:avLst/>
          </a:prstGeom>
          <a:noFill/>
        </p:spPr>
        <p:txBody>
          <a:bodyPr wrap="square" rtlCol="0">
            <a:spAutoFit/>
          </a:bodyPr>
          <a:lstStyle/>
          <a:p>
            <a:r>
              <a:rPr lang="en-US" sz="1600" dirty="0">
                <a:latin typeface="Segoe UI" panose="020B0502040204020203" pitchFamily="34" charset="0"/>
              </a:rPr>
              <a:t>Texas accountability data analyzed by Education Next showed Texas’ accountability system created pressure to improve student performance in schools facing a low-performance rating.  </a:t>
            </a:r>
          </a:p>
          <a:p>
            <a:endParaRPr lang="en-US" sz="1600" dirty="0">
              <a:latin typeface="Segoe UI" panose="020B0502040204020203" pitchFamily="34" charset="0"/>
            </a:endParaRPr>
          </a:p>
          <a:p>
            <a:r>
              <a:rPr lang="en-US" sz="1600" dirty="0">
                <a:latin typeface="Segoe UI" panose="020B0502040204020203" pitchFamily="34" charset="0"/>
              </a:rPr>
              <a:t>This resulted in </a:t>
            </a:r>
            <a:r>
              <a:rPr lang="en-US" sz="1600" b="1" dirty="0">
                <a:latin typeface="Segoe UI" panose="020B0502040204020203" pitchFamily="34" charset="0"/>
              </a:rPr>
              <a:t>greater passage rates on the 10</a:t>
            </a:r>
            <a:r>
              <a:rPr lang="en-US" sz="1600" b="1" baseline="30000" dirty="0">
                <a:latin typeface="Segoe UI" panose="020B0502040204020203" pitchFamily="34" charset="0"/>
              </a:rPr>
              <a:t>th</a:t>
            </a:r>
            <a:r>
              <a:rPr lang="en-US" sz="1600" b="1" dirty="0">
                <a:latin typeface="Segoe UI" panose="020B0502040204020203" pitchFamily="34" charset="0"/>
              </a:rPr>
              <a:t> grade math exam, greater college readiness, and increased wages for students at these campuses</a:t>
            </a:r>
            <a:r>
              <a:rPr lang="en-US" sz="1600" dirty="0">
                <a:latin typeface="Segoe UI" panose="020B0502040204020203" pitchFamily="34" charset="0"/>
              </a:rPr>
              <a:t>.   </a:t>
            </a:r>
          </a:p>
          <a:p>
            <a:endParaRPr lang="en-US" sz="1600" dirty="0">
              <a:latin typeface="Segoe UI" panose="020B0502040204020203" pitchFamily="34" charset="0"/>
            </a:endParaRPr>
          </a:p>
          <a:p>
            <a:r>
              <a:rPr lang="en-US" sz="1600" dirty="0">
                <a:latin typeface="Segoe UI" panose="020B0502040204020203" pitchFamily="34" charset="0"/>
              </a:rPr>
              <a:t>Accountability systems drive performance improvements because they create an incentive to act.  </a:t>
            </a:r>
          </a:p>
        </p:txBody>
      </p:sp>
      <p:sp>
        <p:nvSpPr>
          <p:cNvPr id="3" name="Google Shape;648;p36">
            <a:extLst>
              <a:ext uri="{FF2B5EF4-FFF2-40B4-BE49-F238E27FC236}">
                <a16:creationId xmlns:a16="http://schemas.microsoft.com/office/drawing/2014/main" id="{2633B310-D0B2-1FC1-AA6B-9112E396F656}"/>
              </a:ext>
            </a:extLst>
          </p:cNvPr>
          <p:cNvSpPr txBox="1"/>
          <p:nvPr/>
        </p:nvSpPr>
        <p:spPr>
          <a:xfrm>
            <a:off x="1476656" y="6466613"/>
            <a:ext cx="2956377" cy="23079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dirty="0">
                <a:solidFill>
                  <a:schemeClr val="bg1"/>
                </a:solidFill>
                <a:latin typeface="Segoe UI" panose="020B0502040204020203" pitchFamily="34" charset="0"/>
                <a:ea typeface="Segoe UI"/>
                <a:cs typeface="Segoe UI" panose="020B0502040204020203" pitchFamily="34" charset="0"/>
                <a:sym typeface="Segoe UI"/>
              </a:rPr>
              <a:t>Source: Education Next</a:t>
            </a:r>
          </a:p>
        </p:txBody>
      </p:sp>
    </p:spTree>
    <p:extLst>
      <p:ext uri="{BB962C8B-B14F-4D97-AF65-F5344CB8AC3E}">
        <p14:creationId xmlns:p14="http://schemas.microsoft.com/office/powerpoint/2010/main" val="31748889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B20AF9-2F06-4351-94C2-2D39197783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4" name="Object 3" hidden="1">
                        <a:extLst>
                          <a:ext uri="{FF2B5EF4-FFF2-40B4-BE49-F238E27FC236}">
                            <a16:creationId xmlns:a16="http://schemas.microsoft.com/office/drawing/2014/main" id="{97B20AF9-2F06-4351-94C2-2D39197783B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361217-AD66-4C53-B077-BA4CA3F51A32}"/>
              </a:ext>
            </a:extLst>
          </p:cNvPr>
          <p:cNvSpPr/>
          <p:nvPr>
            <p:custDataLst>
              <p:tags r:id="rId2"/>
            </p:custDataLst>
          </p:nvPr>
        </p:nvSpPr>
        <p:spPr>
          <a:xfrm>
            <a:off x="0" y="0"/>
            <a:ext cx="158750" cy="158750"/>
          </a:xfrm>
          <a:prstGeom prst="rect">
            <a:avLst/>
          </a:prstGeom>
          <a:solidFill>
            <a:srgbClr val="344187"/>
          </a:solidFill>
          <a:ln w="9525" cap="rnd" cmpd="sng" algn="ctr">
            <a:solidFill>
              <a:srgbClr val="34418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mn-lt"/>
            </a:endParaRPr>
          </a:p>
        </p:txBody>
      </p:sp>
      <p:sp>
        <p:nvSpPr>
          <p:cNvPr id="3" name="Title 2">
            <a:extLst>
              <a:ext uri="{FF2B5EF4-FFF2-40B4-BE49-F238E27FC236}">
                <a16:creationId xmlns:a16="http://schemas.microsoft.com/office/drawing/2014/main" id="{FFBA3F64-9599-4E8E-92CC-AEA3C972BD6E}"/>
              </a:ext>
            </a:extLst>
          </p:cNvPr>
          <p:cNvSpPr>
            <a:spLocks noGrp="1"/>
          </p:cNvSpPr>
          <p:nvPr>
            <p:ph type="title" idx="4294967295"/>
          </p:nvPr>
        </p:nvSpPr>
        <p:spPr>
          <a:xfrm>
            <a:off x="594987" y="379083"/>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Segoe UI" panose="020B0502040204020203" pitchFamily="34" charset="0"/>
                <a:ea typeface="+mj-ea"/>
                <a:cs typeface="+mj-cs"/>
              </a:defRPr>
            </a:lvl1pPr>
          </a:lstStyle>
          <a:p>
            <a:r>
              <a:rPr lang="en-US" sz="3600" dirty="0">
                <a:solidFill>
                  <a:srgbClr val="082567"/>
                </a:solidFill>
              </a:rPr>
              <a:t>The Texas economy is an engine powered by out of state workers. </a:t>
            </a:r>
            <a:endParaRPr lang="en-US" sz="2400" b="1" dirty="0">
              <a:solidFill>
                <a:srgbClr val="082567"/>
              </a:solidFill>
              <a:latin typeface="Segoe UI" panose="020B0502040204020203" pitchFamily="34" charset="0"/>
              <a:cs typeface="Segoe UI" panose="020B0502040204020203" pitchFamily="34" charset="0"/>
            </a:endParaRPr>
          </a:p>
        </p:txBody>
      </p:sp>
      <p:sp>
        <p:nvSpPr>
          <p:cNvPr id="176" name="TextBox 175">
            <a:extLst>
              <a:ext uri="{FF2B5EF4-FFF2-40B4-BE49-F238E27FC236}">
                <a16:creationId xmlns:a16="http://schemas.microsoft.com/office/drawing/2014/main" id="{397DC99E-3170-4ABF-9939-575CF7B105FE}"/>
              </a:ext>
            </a:extLst>
          </p:cNvPr>
          <p:cNvSpPr txBox="1"/>
          <p:nvPr/>
        </p:nvSpPr>
        <p:spPr>
          <a:xfrm>
            <a:off x="1866921" y="2203748"/>
            <a:ext cx="2767800" cy="984885"/>
          </a:xfrm>
          <a:prstGeom prst="rect">
            <a:avLst/>
          </a:prstGeom>
          <a:noFill/>
          <a:ln w="9525" cap="flat" cmpd="sng" algn="ctr">
            <a:noFill/>
            <a:prstDash val="solid"/>
            <a:round/>
            <a:headEnd type="none" w="med" len="med"/>
            <a:tailEnd type="none" w="med" len="med"/>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For the past decade, Texas has relied on average </a:t>
            </a:r>
            <a:r>
              <a:rPr kumimoji="0" lang="en-US" sz="16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annual net migration of 214k </a:t>
            </a:r>
            <a:r>
              <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to buo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its workforce.</a:t>
            </a:r>
          </a:p>
        </p:txBody>
      </p:sp>
      <p:graphicFrame>
        <p:nvGraphicFramePr>
          <p:cNvPr id="82" name="Chart 81">
            <a:extLst>
              <a:ext uri="{FF2B5EF4-FFF2-40B4-BE49-F238E27FC236}">
                <a16:creationId xmlns:a16="http://schemas.microsoft.com/office/drawing/2014/main" id="{CB807515-4CAD-4921-807F-64339A184CB6}"/>
              </a:ext>
            </a:extLst>
          </p:cNvPr>
          <p:cNvGraphicFramePr/>
          <p:nvPr>
            <p:custDataLst>
              <p:tags r:id="rId3"/>
            </p:custDataLst>
          </p:nvPr>
        </p:nvGraphicFramePr>
        <p:xfrm>
          <a:off x="5443463" y="1830295"/>
          <a:ext cx="3375025" cy="3087009"/>
        </p:xfrm>
        <a:graphic>
          <a:graphicData uri="http://schemas.openxmlformats.org/drawingml/2006/chart">
            <c:chart xmlns:c="http://schemas.openxmlformats.org/drawingml/2006/chart" xmlns:r="http://schemas.openxmlformats.org/officeDocument/2006/relationships" r:id="rId16"/>
          </a:graphicData>
        </a:graphic>
      </p:graphicFrame>
      <p:sp>
        <p:nvSpPr>
          <p:cNvPr id="74" name="Text Placeholder 3">
            <a:extLst>
              <a:ext uri="{FF2B5EF4-FFF2-40B4-BE49-F238E27FC236}">
                <a16:creationId xmlns:a16="http://schemas.microsoft.com/office/drawing/2014/main" id="{3007894A-696B-4575-B6B1-D03E5359D4A5}"/>
              </a:ext>
            </a:extLst>
          </p:cNvPr>
          <p:cNvSpPr>
            <a:spLocks noGrp="1"/>
          </p:cNvSpPr>
          <p:nvPr>
            <p:custDataLst>
              <p:tags r:id="rId4"/>
            </p:custDataLst>
          </p:nvPr>
        </p:nvSpPr>
        <p:spPr bwMode="gray">
          <a:xfrm>
            <a:off x="5583163" y="4917307"/>
            <a:ext cx="1490663"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3A4A9F"/>
              </a:buClr>
              <a:buFont typeface="Segoe UI" panose="020B0603020202020204" pitchFamily="34" charset="0"/>
              <a:buChar char="–"/>
              <a:defRPr lang="en-US" sz="1200" kern="1200">
                <a:solidFill>
                  <a:srgbClr val="40404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3A4A9F"/>
              </a:buClr>
              <a:buFont typeface="Arial" panose="020B0604020202020204" pitchFamily="34" charset="0"/>
              <a:buChar char="​"/>
              <a:defRPr lang="en-US" sz="1600" kern="1200">
                <a:solidFill>
                  <a:srgbClr val="3A4A9F"/>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3A4A9F"/>
              </a:buClr>
              <a:buFont typeface="Arial" panose="020B0604020202020204" pitchFamily="34" charset="0"/>
              <a:buChar char="​"/>
              <a:defRPr lang="en-US" sz="1600" b="1" kern="1200" smtClean="0">
                <a:solidFill>
                  <a:srgbClr val="40404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3A4A9F"/>
              </a:buClr>
              <a:buFont typeface="Arial" panose="020B0604020202020204" pitchFamily="34" charset="0"/>
              <a:buChar char="•"/>
              <a:defRPr lang="en-US" sz="1600" kern="1200" smtClean="0">
                <a:solidFill>
                  <a:srgbClr val="40404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3A4A9F"/>
              </a:buClr>
              <a:buFont typeface="Arial" panose="020B0604020202020204" pitchFamily="34" charset="0"/>
              <a:buChar char="​"/>
              <a:defRPr lang="en-US" sz="4400" kern="1200" baseline="0" smtClean="0">
                <a:solidFill>
                  <a:srgbClr val="40404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3A4A9F"/>
              </a:buClr>
              <a:buFont typeface="Arial" panose="020B0604020202020204" pitchFamily="34" charset="0"/>
              <a:buChar char="​"/>
              <a:defRPr lang="en-US" sz="5400" kern="1200" baseline="0" smtClean="0">
                <a:solidFill>
                  <a:srgbClr val="3A4A9F"/>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3A4A9F"/>
              </a:buClr>
              <a:buFont typeface="Arial" panose="020B0604020202020204" pitchFamily="34" charset="0"/>
              <a:buChar char="​"/>
              <a:defRPr lang="en-US" sz="2400" kern="1200" baseline="0" dirty="0">
                <a:solidFill>
                  <a:srgbClr val="3A4A9F"/>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fld id="{DE960C9D-F096-4AF9-9841-457D366CB407}" type="datetime'''''T''''o''ta''l  Wo''''''''''''''r''kfo''r''c''''''''''e'''">
              <a:rPr kumimoji="0" lang="en-US" altLang="en-US" sz="1400" i="0" u="none" strike="noStrike" kern="1200" cap="none" spc="0" normalizeH="0" baseline="0" noProof="0" smtClean="0">
                <a:ln>
                  <a:noFill/>
                </a:ln>
                <a:solidFill>
                  <a:srgbClr val="404040"/>
                </a:solidFill>
                <a:effectLst/>
                <a:uLnTx/>
                <a:uFillTx/>
                <a:latin typeface="Segoe UI" panose="020B0502040204020203" pitchFamily="34" charset="0"/>
                <a:cs typeface="Segoe UI" panose="020B0502040204020203" pitchFamily="34" charset="0"/>
                <a:sym typeface="+mn-lt"/>
              </a:rPr>
              <a:pPr marL="0" marR="0" lvl="0" indent="0" algn="ctr"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t>Total  Workforce</a:t>
            </a:fld>
            <a:endParaRPr kumimoji="0" lang="en-US" sz="1400" i="0" u="none" strike="noStrike" kern="1200" cap="none" spc="0" normalizeH="0" baseline="0" noProof="0" dirty="0">
              <a:ln>
                <a:noFill/>
              </a:ln>
              <a:solidFill>
                <a:srgbClr val="404040"/>
              </a:solidFill>
              <a:effectLst/>
              <a:uLnTx/>
              <a:uFillTx/>
              <a:latin typeface="Segoe UI" panose="020B0502040204020203" pitchFamily="34" charset="0"/>
              <a:cs typeface="Segoe UI" panose="020B0502040204020203" pitchFamily="34" charset="0"/>
              <a:sym typeface="+mn-lt"/>
            </a:endParaRPr>
          </a:p>
        </p:txBody>
      </p:sp>
      <p:sp>
        <p:nvSpPr>
          <p:cNvPr id="71" name="Text Placeholder 3">
            <a:extLst>
              <a:ext uri="{FF2B5EF4-FFF2-40B4-BE49-F238E27FC236}">
                <a16:creationId xmlns:a16="http://schemas.microsoft.com/office/drawing/2014/main" id="{3F63E674-1608-4EC1-977A-CEEFFC8FDFDF}"/>
              </a:ext>
            </a:extLst>
          </p:cNvPr>
          <p:cNvSpPr>
            <a:spLocks noGrp="1"/>
          </p:cNvSpPr>
          <p:nvPr>
            <p:custDataLst>
              <p:tags r:id="rId5"/>
            </p:custDataLst>
          </p:nvPr>
        </p:nvSpPr>
        <p:spPr bwMode="gray">
          <a:xfrm>
            <a:off x="7332588" y="4917307"/>
            <a:ext cx="1200150" cy="2682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3A4A9F"/>
              </a:buClr>
              <a:buFont typeface="Segoe UI" panose="020B0603020202020204" pitchFamily="34" charset="0"/>
              <a:buChar char="–"/>
              <a:defRPr lang="en-US" sz="1200" kern="1200">
                <a:solidFill>
                  <a:srgbClr val="40404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3A4A9F"/>
              </a:buClr>
              <a:buFont typeface="Arial" panose="020B0604020202020204" pitchFamily="34" charset="0"/>
              <a:buChar char="​"/>
              <a:defRPr lang="en-US" sz="1600" kern="1200">
                <a:solidFill>
                  <a:srgbClr val="3A4A9F"/>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3A4A9F"/>
              </a:buClr>
              <a:buFont typeface="Arial" panose="020B0604020202020204" pitchFamily="34" charset="0"/>
              <a:buChar char="​"/>
              <a:defRPr lang="en-US" sz="1600" b="1" kern="1200" smtClean="0">
                <a:solidFill>
                  <a:srgbClr val="40404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3A4A9F"/>
              </a:buClr>
              <a:buFont typeface="Arial" panose="020B0604020202020204" pitchFamily="34" charset="0"/>
              <a:buChar char="•"/>
              <a:defRPr lang="en-US" sz="1600" kern="1200" smtClean="0">
                <a:solidFill>
                  <a:srgbClr val="40404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3A4A9F"/>
              </a:buClr>
              <a:buFont typeface="Arial" panose="020B0604020202020204" pitchFamily="34" charset="0"/>
              <a:buChar char="​"/>
              <a:defRPr lang="en-US" sz="4400" kern="1200" baseline="0" smtClean="0">
                <a:solidFill>
                  <a:srgbClr val="40404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3A4A9F"/>
              </a:buClr>
              <a:buFont typeface="Arial" panose="020B0604020202020204" pitchFamily="34" charset="0"/>
              <a:buChar char="​"/>
              <a:defRPr lang="en-US" sz="5400" kern="1200" baseline="0" smtClean="0">
                <a:solidFill>
                  <a:srgbClr val="3A4A9F"/>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3A4A9F"/>
              </a:buClr>
              <a:buFont typeface="Arial" panose="020B0604020202020204" pitchFamily="34" charset="0"/>
              <a:buChar char="​"/>
              <a:defRPr lang="en-US" sz="2400" kern="1200" baseline="0" dirty="0">
                <a:solidFill>
                  <a:srgbClr val="3A4A9F"/>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fld id="{A7678C40-4E12-4978-9B5A-316AF9B848F2}" type="datetime'Ne''''''''''''t'''' Mi''g''r''''''''''''''''''a''''n''''''ts'">
              <a:rPr kumimoji="0" lang="en-US" altLang="en-US" sz="1400" i="0" u="none" strike="noStrike" kern="1200" cap="none" spc="0" normalizeH="0" baseline="0" noProof="0" smtClean="0">
                <a:ln>
                  <a:noFill/>
                </a:ln>
                <a:solidFill>
                  <a:srgbClr val="404040"/>
                </a:solidFill>
                <a:effectLst/>
                <a:uLnTx/>
                <a:uFillTx/>
                <a:latin typeface="Segoe UI" panose="020B0502040204020203" pitchFamily="34" charset="0"/>
                <a:cs typeface="Segoe UI" panose="020B0502040204020203" pitchFamily="34" charset="0"/>
                <a:sym typeface="+mn-lt"/>
              </a:rPr>
              <a:pPr marL="0" marR="0" lvl="0" indent="0" algn="ctr"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t>Net Migrants</a:t>
            </a:fld>
            <a:endParaRPr kumimoji="0" lang="en-US" sz="1400" i="0" u="none" strike="noStrike" kern="1200" cap="none" spc="0" normalizeH="0" baseline="0" noProof="0" dirty="0">
              <a:ln>
                <a:noFill/>
              </a:ln>
              <a:solidFill>
                <a:srgbClr val="404040"/>
              </a:solidFill>
              <a:effectLst/>
              <a:uLnTx/>
              <a:uFillTx/>
              <a:latin typeface="Segoe UI" panose="020B0502040204020203" pitchFamily="34" charset="0"/>
              <a:cs typeface="Segoe UI" panose="020B0502040204020203" pitchFamily="34" charset="0"/>
              <a:sym typeface="+mn-lt"/>
            </a:endParaRPr>
          </a:p>
        </p:txBody>
      </p:sp>
      <p:sp>
        <p:nvSpPr>
          <p:cNvPr id="75" name="Rectangle 74">
            <a:extLst>
              <a:ext uri="{FF2B5EF4-FFF2-40B4-BE49-F238E27FC236}">
                <a16:creationId xmlns:a16="http://schemas.microsoft.com/office/drawing/2014/main" id="{E548E591-8221-4E9A-90FA-8D127F5B24CB}"/>
              </a:ext>
            </a:extLst>
          </p:cNvPr>
          <p:cNvSpPr/>
          <p:nvPr>
            <p:custDataLst>
              <p:tags r:id="rId6"/>
            </p:custDataLst>
          </p:nvPr>
        </p:nvSpPr>
        <p:spPr bwMode="gray">
          <a:xfrm>
            <a:off x="9051906" y="2356852"/>
            <a:ext cx="193072" cy="187325"/>
          </a:xfrm>
          <a:prstGeom prst="rect">
            <a:avLst/>
          </a:prstGeom>
          <a:solidFill>
            <a:srgbClr val="00B0F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76" name="Rectangle 75">
            <a:extLst>
              <a:ext uri="{FF2B5EF4-FFF2-40B4-BE49-F238E27FC236}">
                <a16:creationId xmlns:a16="http://schemas.microsoft.com/office/drawing/2014/main" id="{9FE4915C-0B5D-4843-90EA-B6C54B1BB409}"/>
              </a:ext>
            </a:extLst>
          </p:cNvPr>
          <p:cNvSpPr/>
          <p:nvPr>
            <p:custDataLst>
              <p:tags r:id="rId7"/>
            </p:custDataLst>
          </p:nvPr>
        </p:nvSpPr>
        <p:spPr bwMode="gray">
          <a:xfrm>
            <a:off x="9051906" y="2748369"/>
            <a:ext cx="193072" cy="187325"/>
          </a:xfrm>
          <a:prstGeom prst="rect">
            <a:avLst/>
          </a:prstGeom>
          <a:solidFill>
            <a:srgbClr val="08256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3A4A9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77" name="Rectangle 76">
            <a:extLst>
              <a:ext uri="{FF2B5EF4-FFF2-40B4-BE49-F238E27FC236}">
                <a16:creationId xmlns:a16="http://schemas.microsoft.com/office/drawing/2014/main" id="{4F53FD6B-26A6-4543-BC57-50FB93F7E772}"/>
              </a:ext>
            </a:extLst>
          </p:cNvPr>
          <p:cNvSpPr/>
          <p:nvPr>
            <p:custDataLst>
              <p:tags r:id="rId8"/>
            </p:custDataLst>
          </p:nvPr>
        </p:nvSpPr>
        <p:spPr bwMode="gray">
          <a:xfrm>
            <a:off x="9050812" y="3169649"/>
            <a:ext cx="193072" cy="187325"/>
          </a:xfrm>
          <a:prstGeom prst="rect">
            <a:avLst/>
          </a:prstGeom>
          <a:solidFill>
            <a:srgbClr val="F2685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sp>
        <p:nvSpPr>
          <p:cNvPr id="78" name="Text Placeholder 3">
            <a:extLst>
              <a:ext uri="{FF2B5EF4-FFF2-40B4-BE49-F238E27FC236}">
                <a16:creationId xmlns:a16="http://schemas.microsoft.com/office/drawing/2014/main" id="{DD004FBE-258A-4B8A-8184-914A94EC2AEF}"/>
              </a:ext>
            </a:extLst>
          </p:cNvPr>
          <p:cNvSpPr>
            <a:spLocks noGrp="1"/>
          </p:cNvSpPr>
          <p:nvPr>
            <p:custDataLst>
              <p:tags r:id="rId9"/>
            </p:custDataLst>
          </p:nvPr>
        </p:nvSpPr>
        <p:spPr bwMode="gray">
          <a:xfrm>
            <a:off x="9310362" y="2333039"/>
            <a:ext cx="9715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3A4A9F"/>
              </a:buClr>
              <a:buFont typeface="Segoe UI" panose="020B0603020202020204" pitchFamily="34" charset="0"/>
              <a:buChar char="–"/>
              <a:defRPr lang="en-US" sz="1200" kern="1200">
                <a:solidFill>
                  <a:srgbClr val="40404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3A4A9F"/>
              </a:buClr>
              <a:buFont typeface="Arial" panose="020B0604020202020204" pitchFamily="34" charset="0"/>
              <a:buChar char="​"/>
              <a:defRPr lang="en-US" sz="1600" kern="1200">
                <a:solidFill>
                  <a:srgbClr val="3A4A9F"/>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3A4A9F"/>
              </a:buClr>
              <a:buFont typeface="Arial" panose="020B0604020202020204" pitchFamily="34" charset="0"/>
              <a:buChar char="​"/>
              <a:defRPr lang="en-US" sz="1600" b="1" kern="1200" smtClean="0">
                <a:solidFill>
                  <a:srgbClr val="40404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3A4A9F"/>
              </a:buClr>
              <a:buFont typeface="Arial" panose="020B0604020202020204" pitchFamily="34" charset="0"/>
              <a:buChar char="•"/>
              <a:defRPr lang="en-US" sz="1600" kern="1200" smtClean="0">
                <a:solidFill>
                  <a:srgbClr val="40404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3A4A9F"/>
              </a:buClr>
              <a:buFont typeface="Arial" panose="020B0604020202020204" pitchFamily="34" charset="0"/>
              <a:buChar char="​"/>
              <a:defRPr lang="en-US" sz="4400" kern="1200" baseline="0" smtClean="0">
                <a:solidFill>
                  <a:srgbClr val="40404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3A4A9F"/>
              </a:buClr>
              <a:buFont typeface="Arial" panose="020B0604020202020204" pitchFamily="34" charset="0"/>
              <a:buChar char="​"/>
              <a:defRPr lang="en-US" sz="5400" kern="1200" baseline="0" smtClean="0">
                <a:solidFill>
                  <a:srgbClr val="3A4A9F"/>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3A4A9F"/>
              </a:buClr>
              <a:buFont typeface="Arial" panose="020B0604020202020204" pitchFamily="34" charset="0"/>
              <a:buChar char="​"/>
              <a:defRPr lang="en-US" sz="2400" kern="1200" baseline="0" dirty="0">
                <a:solidFill>
                  <a:srgbClr val="3A4A9F"/>
                </a:solidFill>
                <a:latin typeface="+mn-lt"/>
                <a:ea typeface="+mn-ea"/>
                <a:cs typeface="+mn-cs"/>
                <a:sym typeface="+mn-lt"/>
              </a:defRPr>
            </a:lvl9pPr>
          </a:lstStyle>
          <a:p>
            <a:pPr marL="0" marR="0" lvl="0" indent="0" algn="l"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fld id="{629CC2D8-DF2B-494C-AB40-50C0D6D2AEA4}" type="datetime'''''H''S ''''o''''r'' b''''''''''''''''e''l''''o''''''''w'''''">
              <a:rPr kumimoji="0" lang="en-US" altLang="en-US" b="0" i="0" u="none" strike="noStrike" kern="1200" cap="none" spc="0" normalizeH="0" baseline="0" noProof="0" smtClean="0">
                <a:ln>
                  <a:noFill/>
                </a:ln>
                <a:solidFill>
                  <a:srgbClr val="404040"/>
                </a:solidFill>
                <a:effectLst/>
                <a:uLnTx/>
                <a:uFillTx/>
                <a:latin typeface="Segoe UI" panose="020B0502040204020203" pitchFamily="34" charset="0"/>
                <a:cs typeface="Segoe UI" panose="020B0502040204020203" pitchFamily="34" charset="0"/>
                <a:sym typeface="+mn-lt"/>
              </a:rPr>
              <a:pPr marL="0" marR="0" lvl="0" indent="0" algn="l"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t>HS or below</a:t>
            </a:fld>
            <a:endParaRPr kumimoji="0" lang="en-US" b="0" i="0" u="none" strike="noStrike" kern="1200" cap="none" spc="0" normalizeH="0" baseline="0" noProof="0" dirty="0">
              <a:ln>
                <a:noFill/>
              </a:ln>
              <a:solidFill>
                <a:srgbClr val="404040"/>
              </a:solidFill>
              <a:effectLst/>
              <a:uLnTx/>
              <a:uFillTx/>
              <a:latin typeface="Segoe UI" panose="020B0502040204020203" pitchFamily="34" charset="0"/>
              <a:cs typeface="Segoe UI" panose="020B0502040204020203" pitchFamily="34" charset="0"/>
              <a:sym typeface="+mn-lt"/>
            </a:endParaRPr>
          </a:p>
        </p:txBody>
      </p:sp>
      <p:sp>
        <p:nvSpPr>
          <p:cNvPr id="79" name="Text Placeholder 3">
            <a:extLst>
              <a:ext uri="{FF2B5EF4-FFF2-40B4-BE49-F238E27FC236}">
                <a16:creationId xmlns:a16="http://schemas.microsoft.com/office/drawing/2014/main" id="{C099B367-5A64-40D9-9DCC-9BC3F4B532EA}"/>
              </a:ext>
            </a:extLst>
          </p:cNvPr>
          <p:cNvSpPr>
            <a:spLocks noGrp="1"/>
          </p:cNvSpPr>
          <p:nvPr>
            <p:custDataLst>
              <p:tags r:id="rId10"/>
            </p:custDataLst>
          </p:nvPr>
        </p:nvSpPr>
        <p:spPr bwMode="gray">
          <a:xfrm>
            <a:off x="9310362" y="2724556"/>
            <a:ext cx="18002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3A4A9F"/>
              </a:buClr>
              <a:buFont typeface="Segoe UI" panose="020B0603020202020204" pitchFamily="34" charset="0"/>
              <a:buChar char="–"/>
              <a:defRPr lang="en-US" sz="1200" kern="1200">
                <a:solidFill>
                  <a:srgbClr val="40404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3A4A9F"/>
              </a:buClr>
              <a:buFont typeface="Arial" panose="020B0604020202020204" pitchFamily="34" charset="0"/>
              <a:buChar char="​"/>
              <a:defRPr lang="en-US" sz="1600" kern="1200">
                <a:solidFill>
                  <a:srgbClr val="3A4A9F"/>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3A4A9F"/>
              </a:buClr>
              <a:buFont typeface="Arial" panose="020B0604020202020204" pitchFamily="34" charset="0"/>
              <a:buChar char="​"/>
              <a:defRPr lang="en-US" sz="1600" b="1" kern="1200" smtClean="0">
                <a:solidFill>
                  <a:srgbClr val="40404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3A4A9F"/>
              </a:buClr>
              <a:buFont typeface="Arial" panose="020B0604020202020204" pitchFamily="34" charset="0"/>
              <a:buChar char="•"/>
              <a:defRPr lang="en-US" sz="1600" kern="1200" smtClean="0">
                <a:solidFill>
                  <a:srgbClr val="40404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3A4A9F"/>
              </a:buClr>
              <a:buFont typeface="Arial" panose="020B0604020202020204" pitchFamily="34" charset="0"/>
              <a:buChar char="​"/>
              <a:defRPr lang="en-US" sz="4400" kern="1200" baseline="0" smtClean="0">
                <a:solidFill>
                  <a:srgbClr val="40404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3A4A9F"/>
              </a:buClr>
              <a:buFont typeface="Arial" panose="020B0604020202020204" pitchFamily="34" charset="0"/>
              <a:buChar char="​"/>
              <a:defRPr lang="en-US" sz="5400" kern="1200" baseline="0" smtClean="0">
                <a:solidFill>
                  <a:srgbClr val="3A4A9F"/>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3A4A9F"/>
              </a:buClr>
              <a:buFont typeface="Arial" panose="020B0604020202020204" pitchFamily="34" charset="0"/>
              <a:buChar char="​"/>
              <a:defRPr lang="en-US" sz="2400" kern="1200" baseline="0" dirty="0">
                <a:solidFill>
                  <a:srgbClr val="3A4A9F"/>
                </a:solidFill>
                <a:latin typeface="+mn-lt"/>
                <a:ea typeface="+mn-ea"/>
                <a:cs typeface="+mn-cs"/>
                <a:sym typeface="+mn-lt"/>
              </a:defRPr>
            </a:lvl9pPr>
          </a:lstStyle>
          <a:p>
            <a:pPr marL="0" marR="0" lvl="0" indent="0" algn="l"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fld id="{B33429C7-554D-479E-9114-9EF2981BA71C}" type="datetime'''Som''''e ''''''''''Co''''l''le''g''''e ''''''/ ''Ass''oc''.'">
              <a:rPr kumimoji="0" lang="en-US" altLang="en-US" b="0" i="0" u="none" strike="noStrike" kern="1200" cap="none" spc="0" normalizeH="0" baseline="0" noProof="0" smtClean="0">
                <a:ln>
                  <a:noFill/>
                </a:ln>
                <a:solidFill>
                  <a:srgbClr val="404040"/>
                </a:solidFill>
                <a:effectLst/>
                <a:uLnTx/>
                <a:uFillTx/>
                <a:latin typeface="Segoe UI" panose="020B0502040204020203" pitchFamily="34" charset="0"/>
                <a:cs typeface="Segoe UI" panose="020B0502040204020203" pitchFamily="34" charset="0"/>
                <a:sym typeface="+mn-lt"/>
              </a:rPr>
              <a:pPr marL="0" marR="0" lvl="0" indent="0" algn="l"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t>Some College / Assoc.</a:t>
            </a:fld>
            <a:endParaRPr kumimoji="0" lang="en-US" b="0" i="0" u="none" strike="noStrike" kern="1200" cap="none" spc="0" normalizeH="0" baseline="0" noProof="0" dirty="0">
              <a:ln>
                <a:noFill/>
              </a:ln>
              <a:solidFill>
                <a:srgbClr val="404040"/>
              </a:solidFill>
              <a:effectLst/>
              <a:uLnTx/>
              <a:uFillTx/>
              <a:latin typeface="Segoe UI" panose="020B0502040204020203" pitchFamily="34" charset="0"/>
              <a:cs typeface="Segoe UI" panose="020B0502040204020203" pitchFamily="34" charset="0"/>
              <a:sym typeface="+mn-lt"/>
            </a:endParaRPr>
          </a:p>
        </p:txBody>
      </p:sp>
      <p:sp>
        <p:nvSpPr>
          <p:cNvPr id="80" name="Text Placeholder 3">
            <a:extLst>
              <a:ext uri="{FF2B5EF4-FFF2-40B4-BE49-F238E27FC236}">
                <a16:creationId xmlns:a16="http://schemas.microsoft.com/office/drawing/2014/main" id="{AE115B39-70E8-44FD-9EBC-C579729E27CE}"/>
              </a:ext>
            </a:extLst>
          </p:cNvPr>
          <p:cNvSpPr>
            <a:spLocks noGrp="1"/>
          </p:cNvSpPr>
          <p:nvPr>
            <p:custDataLst>
              <p:tags r:id="rId11"/>
            </p:custDataLst>
          </p:nvPr>
        </p:nvSpPr>
        <p:spPr bwMode="gray">
          <a:xfrm>
            <a:off x="9310362" y="3145836"/>
            <a:ext cx="7286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3A4A9F"/>
              </a:buClr>
              <a:buFont typeface="Arial" panose="020B0604020202020204" pitchFamily="34" charset="0"/>
              <a:buChar char="•"/>
              <a:defRPr lang="en-US" sz="1200" kern="1200">
                <a:solidFill>
                  <a:srgbClr val="40404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3A4A9F"/>
              </a:buClr>
              <a:buFont typeface="Segoe UI" panose="020B0603020202020204" pitchFamily="34" charset="0"/>
              <a:buChar char="–"/>
              <a:defRPr lang="en-US" sz="1200" kern="1200">
                <a:solidFill>
                  <a:srgbClr val="40404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3A4A9F"/>
              </a:buClr>
              <a:buFont typeface="Arial" panose="020B0604020202020204" pitchFamily="34" charset="0"/>
              <a:buChar char="​"/>
              <a:defRPr lang="en-US" sz="1600" kern="1200">
                <a:solidFill>
                  <a:srgbClr val="3A4A9F"/>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3A4A9F"/>
              </a:buClr>
              <a:buFont typeface="Arial" panose="020B0604020202020204" pitchFamily="34" charset="0"/>
              <a:buChar char="​"/>
              <a:defRPr lang="en-US" sz="1600" b="1" kern="1200" smtClean="0">
                <a:solidFill>
                  <a:srgbClr val="40404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3A4A9F"/>
              </a:buClr>
              <a:buFont typeface="Arial" panose="020B0604020202020204" pitchFamily="34" charset="0"/>
              <a:buChar char="•"/>
              <a:defRPr lang="en-US" sz="1600" kern="1200" smtClean="0">
                <a:solidFill>
                  <a:srgbClr val="40404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3A4A9F"/>
              </a:buClr>
              <a:buFont typeface="Arial" panose="020B0604020202020204" pitchFamily="34" charset="0"/>
              <a:buChar char="​"/>
              <a:defRPr lang="en-US" sz="4400" kern="1200" baseline="0" smtClean="0">
                <a:solidFill>
                  <a:srgbClr val="40404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3A4A9F"/>
              </a:buClr>
              <a:buFont typeface="Arial" panose="020B0604020202020204" pitchFamily="34" charset="0"/>
              <a:buChar char="​"/>
              <a:defRPr lang="en-US" sz="5400" kern="1200" baseline="0" smtClean="0">
                <a:solidFill>
                  <a:srgbClr val="3A4A9F"/>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3A4A9F"/>
              </a:buClr>
              <a:buFont typeface="Arial" panose="020B0604020202020204" pitchFamily="34" charset="0"/>
              <a:buChar char="​"/>
              <a:defRPr lang="en-US" sz="2400" kern="1200" baseline="0" dirty="0">
                <a:solidFill>
                  <a:srgbClr val="3A4A9F"/>
                </a:solidFill>
                <a:latin typeface="+mn-lt"/>
                <a:ea typeface="+mn-ea"/>
                <a:cs typeface="+mn-cs"/>
                <a:sym typeface="+mn-lt"/>
              </a:defRPr>
            </a:lvl9pPr>
          </a:lstStyle>
          <a:p>
            <a:pPr marL="0" marR="0" lvl="0" indent="0" algn="l"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fld id="{7E2AD453-4750-4EDD-ABB1-AF097CA9BBD0}" type="datetime'''''''''''''BA'''''''''''''''''''''' /'' ''BS''+'''''''''''''">
              <a:rPr kumimoji="0" lang="en-US" altLang="en-US" b="0" i="0" u="none" strike="noStrike" kern="1200" cap="none" spc="0" normalizeH="0" baseline="0" noProof="0" smtClean="0">
                <a:ln>
                  <a:noFill/>
                </a:ln>
                <a:solidFill>
                  <a:srgbClr val="404040"/>
                </a:solidFill>
                <a:effectLst/>
                <a:uLnTx/>
                <a:uFillTx/>
                <a:latin typeface="Segoe UI" panose="020B0502040204020203" pitchFamily="34" charset="0"/>
                <a:cs typeface="Segoe UI" panose="020B0502040204020203" pitchFamily="34" charset="0"/>
                <a:sym typeface="+mn-lt"/>
              </a:rPr>
              <a:pPr marL="0" marR="0" lvl="0" indent="0" algn="l" defTabSz="914400" rtl="0" eaLnBrk="1" fontAlgn="auto" latinLnBrk="0" hangingPunct="1">
                <a:lnSpc>
                  <a:spcPct val="110000"/>
                </a:lnSpc>
                <a:spcBef>
                  <a:spcPct val="0"/>
                </a:spcBef>
                <a:spcAft>
                  <a:spcPct val="0"/>
                </a:spcAft>
                <a:buClr>
                  <a:srgbClr val="3A4A9F"/>
                </a:buClr>
                <a:buSzTx/>
                <a:buFont typeface="Arial" panose="020B0604020202020204" pitchFamily="34" charset="0"/>
                <a:buChar char="​"/>
                <a:tabLst/>
                <a:defRPr/>
              </a:pPr>
              <a:t>BA / BS+</a:t>
            </a:fld>
            <a:endParaRPr kumimoji="0" lang="en-US" b="0" i="0" u="none" strike="noStrike" kern="1200" cap="none" spc="0" normalizeH="0" baseline="0" noProof="0" dirty="0">
              <a:ln>
                <a:noFill/>
              </a:ln>
              <a:solidFill>
                <a:srgbClr val="404040"/>
              </a:solidFill>
              <a:effectLst/>
              <a:uLnTx/>
              <a:uFillTx/>
              <a:latin typeface="Segoe UI" panose="020B0502040204020203" pitchFamily="34" charset="0"/>
              <a:cs typeface="Segoe UI" panose="020B0502040204020203" pitchFamily="34" charset="0"/>
              <a:sym typeface="+mn-lt"/>
            </a:endParaRPr>
          </a:p>
        </p:txBody>
      </p:sp>
      <p:cxnSp>
        <p:nvCxnSpPr>
          <p:cNvPr id="81" name="Straight Connector 80">
            <a:extLst>
              <a:ext uri="{FF2B5EF4-FFF2-40B4-BE49-F238E27FC236}">
                <a16:creationId xmlns:a16="http://schemas.microsoft.com/office/drawing/2014/main" id="{CBA74337-32CC-441E-B01C-7093BBD76A68}"/>
              </a:ext>
            </a:extLst>
          </p:cNvPr>
          <p:cNvCxnSpPr>
            <a:cxnSpLocks/>
          </p:cNvCxnSpPr>
          <p:nvPr/>
        </p:nvCxnSpPr>
        <p:spPr>
          <a:xfrm>
            <a:off x="7107164" y="3500840"/>
            <a:ext cx="1711324" cy="0"/>
          </a:xfrm>
          <a:prstGeom prst="line">
            <a:avLst/>
          </a:prstGeom>
          <a:ln w="12700" cap="rnd">
            <a:solidFill>
              <a:schemeClr val="tx1"/>
            </a:solidFill>
            <a:prstDash val="dash"/>
            <a:round/>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6C9E5BE4-2673-43C8-8F0F-4D28EA899F8E}"/>
              </a:ext>
            </a:extLst>
          </p:cNvPr>
          <p:cNvSpPr txBox="1"/>
          <p:nvPr/>
        </p:nvSpPr>
        <p:spPr>
          <a:xfrm>
            <a:off x="1871024" y="4144242"/>
            <a:ext cx="3244433" cy="738664"/>
          </a:xfrm>
          <a:prstGeom prst="rect">
            <a:avLst/>
          </a:prstGeom>
          <a:noFill/>
          <a:ln w="9525" cap="flat" cmpd="sng" algn="ctr">
            <a:noFill/>
            <a:prstDash val="solid"/>
            <a:round/>
            <a:headEnd type="none" w="med" len="med"/>
            <a:tailEnd type="none" w="med" len="med"/>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In-migrant educational attainment is substantially </a:t>
            </a:r>
            <a:r>
              <a:rPr kumimoji="0" lang="en-US" sz="1600" b="1"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higher than the total workforce.</a:t>
            </a:r>
          </a:p>
        </p:txBody>
      </p:sp>
      <p:cxnSp>
        <p:nvCxnSpPr>
          <p:cNvPr id="73" name="Straight Connector 72">
            <a:extLst>
              <a:ext uri="{FF2B5EF4-FFF2-40B4-BE49-F238E27FC236}">
                <a16:creationId xmlns:a16="http://schemas.microsoft.com/office/drawing/2014/main" id="{D521D255-D298-4BEA-9359-AC93F8713EA3}"/>
              </a:ext>
            </a:extLst>
          </p:cNvPr>
          <p:cNvCxnSpPr>
            <a:cxnSpLocks/>
          </p:cNvCxnSpPr>
          <p:nvPr/>
        </p:nvCxnSpPr>
        <p:spPr>
          <a:xfrm>
            <a:off x="8563160" y="3845425"/>
            <a:ext cx="424488" cy="0"/>
          </a:xfrm>
          <a:prstGeom prst="line">
            <a:avLst/>
          </a:prstGeom>
          <a:noFill/>
          <a:ln w="12700" cap="rnd" cmpd="sng" algn="ctr">
            <a:solidFill>
              <a:schemeClr val="tx1"/>
            </a:solidFill>
            <a:prstDash val="solid"/>
            <a:headEnd type="oval"/>
            <a:tailEnd type="none" w="sm" len="sm"/>
          </a:ln>
          <a:effectLst/>
        </p:spPr>
      </p:cxnSp>
      <p:sp>
        <p:nvSpPr>
          <p:cNvPr id="21" name="TextBox 20">
            <a:extLst>
              <a:ext uri="{FF2B5EF4-FFF2-40B4-BE49-F238E27FC236}">
                <a16:creationId xmlns:a16="http://schemas.microsoft.com/office/drawing/2014/main" id="{397568D9-086D-6A61-3D14-1AAAC0EDC13E}"/>
              </a:ext>
            </a:extLst>
          </p:cNvPr>
          <p:cNvSpPr txBox="1"/>
          <p:nvPr/>
        </p:nvSpPr>
        <p:spPr>
          <a:xfrm>
            <a:off x="9058276" y="3635376"/>
            <a:ext cx="2052312" cy="954107"/>
          </a:xfrm>
          <a:prstGeom prst="rect">
            <a:avLst/>
          </a:prstGeom>
          <a:noFill/>
        </p:spPr>
        <p:txBody>
          <a:bodyPr wrap="square" lIns="0" r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dirty="0">
                <a:latin typeface="Segoe UI" panose="020B0502040204020203" pitchFamily="34" charset="0"/>
                <a:cs typeface="Segoe UI" panose="020B0502040204020203" pitchFamily="34" charset="0"/>
              </a:rPr>
              <a:t>Nearly </a:t>
            </a:r>
            <a:r>
              <a:rPr kumimoji="0" lang="en-US" sz="1400" i="0" u="none" strike="noStrike" kern="0" cap="none" spc="0" normalizeH="0" baseline="0" noProof="0" dirty="0">
                <a:ln>
                  <a:noFill/>
                </a:ln>
                <a:effectLst/>
                <a:uLnTx/>
                <a:uFillTx/>
                <a:latin typeface="Segoe UI" panose="020B0502040204020203" pitchFamily="34" charset="0"/>
                <a:cs typeface="Segoe UI" panose="020B0502040204020203" pitchFamily="34" charset="0"/>
              </a:rPr>
              <a:t>2x the number of Bachelor's and above holders for</a:t>
            </a:r>
            <a:r>
              <a:rPr kumimoji="0" lang="en-US" sz="1400" b="1" i="0" u="none" strike="noStrike" kern="0" cap="none" spc="0" normalizeH="0" baseline="0" noProof="0" dirty="0">
                <a:ln>
                  <a:noFill/>
                </a:ln>
                <a:solidFill>
                  <a:schemeClr val="accent1"/>
                </a:solidFill>
                <a:effectLst/>
                <a:uLnTx/>
                <a:uFillTx/>
                <a:latin typeface="Segoe UI" panose="020B0502040204020203" pitchFamily="34" charset="0"/>
                <a:cs typeface="Segoe UI" panose="020B0502040204020203" pitchFamily="34" charset="0"/>
              </a:rPr>
              <a:t> migrants vs. incumbent workforce</a:t>
            </a:r>
          </a:p>
        </p:txBody>
      </p:sp>
      <p:cxnSp>
        <p:nvCxnSpPr>
          <p:cNvPr id="22" name="Straight Connector 21">
            <a:extLst>
              <a:ext uri="{FF2B5EF4-FFF2-40B4-BE49-F238E27FC236}">
                <a16:creationId xmlns:a16="http://schemas.microsoft.com/office/drawing/2014/main" id="{A5880899-8969-145D-E64D-801AD15E46DE}"/>
              </a:ext>
            </a:extLst>
          </p:cNvPr>
          <p:cNvCxnSpPr>
            <a:cxnSpLocks/>
          </p:cNvCxnSpPr>
          <p:nvPr/>
        </p:nvCxnSpPr>
        <p:spPr>
          <a:xfrm flipV="1">
            <a:off x="5115458" y="1830295"/>
            <a:ext cx="0" cy="335530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CD3117E-81A4-7B9B-590F-8BD9198F5951}"/>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85799" y="2246190"/>
            <a:ext cx="900000" cy="900000"/>
          </a:xfrm>
          <a:prstGeom prst="rect">
            <a:avLst/>
          </a:prstGeom>
        </p:spPr>
      </p:pic>
      <p:cxnSp>
        <p:nvCxnSpPr>
          <p:cNvPr id="31" name="Straight Connector 30">
            <a:extLst>
              <a:ext uri="{FF2B5EF4-FFF2-40B4-BE49-F238E27FC236}">
                <a16:creationId xmlns:a16="http://schemas.microsoft.com/office/drawing/2014/main" id="{26A2AEA1-73A3-89F0-D12A-16AB00B22B63}"/>
              </a:ext>
            </a:extLst>
          </p:cNvPr>
          <p:cNvCxnSpPr>
            <a:cxnSpLocks/>
          </p:cNvCxnSpPr>
          <p:nvPr/>
        </p:nvCxnSpPr>
        <p:spPr>
          <a:xfrm>
            <a:off x="1866921" y="3611983"/>
            <a:ext cx="2849934" cy="0"/>
          </a:xfrm>
          <a:prstGeom prst="line">
            <a:avLst/>
          </a:prstGeom>
          <a:ln w="12700">
            <a:solidFill>
              <a:srgbClr val="F26752"/>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146DF51A-0513-D03F-2C33-D34BF5B21BBA}"/>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66011" y="4056783"/>
            <a:ext cx="900000" cy="900000"/>
          </a:xfrm>
          <a:prstGeom prst="rect">
            <a:avLst/>
          </a:prstGeom>
        </p:spPr>
      </p:pic>
      <p:sp>
        <p:nvSpPr>
          <p:cNvPr id="5" name="Google Shape;667;p56">
            <a:extLst>
              <a:ext uri="{FF2B5EF4-FFF2-40B4-BE49-F238E27FC236}">
                <a16:creationId xmlns:a16="http://schemas.microsoft.com/office/drawing/2014/main" id="{B606A079-5FFC-A77A-8A74-968A6347017B}"/>
              </a:ext>
            </a:extLst>
          </p:cNvPr>
          <p:cNvSpPr/>
          <p:nvPr/>
        </p:nvSpPr>
        <p:spPr>
          <a:xfrm>
            <a:off x="1530215" y="6402550"/>
            <a:ext cx="2743201" cy="21540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panose="020B0502040204020203" pitchFamily="34" charset="0"/>
                <a:ea typeface="Calibri"/>
                <a:cs typeface="Segoe UI" panose="020B0502040204020203" pitchFamily="34" charset="0"/>
                <a:sym typeface="Calibri"/>
              </a:rPr>
              <a:t>Source: Dallas Federal Reserve </a:t>
            </a:r>
            <a:endParaRPr kumimoji="0"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589469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AD063D1-F737-1160-E494-2C3812EAE4C8}"/>
              </a:ext>
            </a:extLst>
          </p:cNvPr>
          <p:cNvSpPr txBox="1">
            <a:spLocks/>
          </p:cNvSpPr>
          <p:nvPr/>
        </p:nvSpPr>
        <p:spPr>
          <a:xfrm>
            <a:off x="374378" y="286262"/>
            <a:ext cx="11169296" cy="45433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Aft>
                <a:spcPts val="600"/>
              </a:spcAft>
              <a:defRPr/>
            </a:pPr>
            <a:r>
              <a:rPr lang="en-US" sz="3200" b="1" dirty="0">
                <a:solidFill>
                  <a:srgbClr val="082567"/>
                </a:solidFill>
                <a:latin typeface="Segoe UI" panose="020B0502040204020203" pitchFamily="34" charset="0"/>
                <a:cs typeface="Segoe UI" panose="020B0502040204020203" pitchFamily="34" charset="0"/>
              </a:rPr>
              <a:t>According To The Long-Term Trend NAEP Data, Scores for US Students Have Trended Up Over Time. Like A Rising Tide Lifting All Boats. </a:t>
            </a:r>
          </a:p>
        </p:txBody>
      </p:sp>
      <p:graphicFrame>
        <p:nvGraphicFramePr>
          <p:cNvPr id="7" name="Chart 6">
            <a:extLst>
              <a:ext uri="{FF2B5EF4-FFF2-40B4-BE49-F238E27FC236}">
                <a16:creationId xmlns:a16="http://schemas.microsoft.com/office/drawing/2014/main" id="{A1799E95-8178-7F17-3DE1-784B0BDC5474}"/>
              </a:ext>
            </a:extLst>
          </p:cNvPr>
          <p:cNvGraphicFramePr>
            <a:graphicFrameLocks/>
          </p:cNvGraphicFramePr>
          <p:nvPr>
            <p:extLst>
              <p:ext uri="{D42A27DB-BD31-4B8C-83A1-F6EECF244321}">
                <p14:modId xmlns:p14="http://schemas.microsoft.com/office/powerpoint/2010/main" val="3527041226"/>
              </p:ext>
            </p:extLst>
          </p:nvPr>
        </p:nvGraphicFramePr>
        <p:xfrm>
          <a:off x="1251679" y="1918739"/>
          <a:ext cx="8907176" cy="4217285"/>
        </p:xfrm>
        <a:graphic>
          <a:graphicData uri="http://schemas.openxmlformats.org/drawingml/2006/chart">
            <c:chart xmlns:c="http://schemas.openxmlformats.org/drawingml/2006/chart" xmlns:r="http://schemas.openxmlformats.org/officeDocument/2006/relationships" r:id="rId3"/>
          </a:graphicData>
        </a:graphic>
      </p:graphicFrame>
      <p:cxnSp>
        <p:nvCxnSpPr>
          <p:cNvPr id="9" name="Straight Connector 8">
            <a:extLst>
              <a:ext uri="{FF2B5EF4-FFF2-40B4-BE49-F238E27FC236}">
                <a16:creationId xmlns:a16="http://schemas.microsoft.com/office/drawing/2014/main" id="{2FCEB72A-B9F5-19F6-73CF-72D286910DCA}"/>
              </a:ext>
            </a:extLst>
          </p:cNvPr>
          <p:cNvCxnSpPr/>
          <p:nvPr/>
        </p:nvCxnSpPr>
        <p:spPr>
          <a:xfrm>
            <a:off x="1888761" y="2990538"/>
            <a:ext cx="7937291" cy="0"/>
          </a:xfrm>
          <a:prstGeom prst="line">
            <a:avLst/>
          </a:prstGeom>
          <a:ln w="12700">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852D9F7-9F9F-5769-2225-0C95F5770B89}"/>
              </a:ext>
            </a:extLst>
          </p:cNvPr>
          <p:cNvCxnSpPr/>
          <p:nvPr/>
        </p:nvCxnSpPr>
        <p:spPr>
          <a:xfrm>
            <a:off x="1888760" y="4799351"/>
            <a:ext cx="7937291" cy="0"/>
          </a:xfrm>
          <a:prstGeom prst="line">
            <a:avLst/>
          </a:prstGeom>
          <a:ln w="12700">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Google Shape;648;p36">
            <a:extLst>
              <a:ext uri="{FF2B5EF4-FFF2-40B4-BE49-F238E27FC236}">
                <a16:creationId xmlns:a16="http://schemas.microsoft.com/office/drawing/2014/main" id="{67C2BE6F-7FD6-AE50-3B4D-09502B7EF521}"/>
              </a:ext>
            </a:extLst>
          </p:cNvPr>
          <p:cNvSpPr txBox="1"/>
          <p:nvPr/>
        </p:nvSpPr>
        <p:spPr>
          <a:xfrm>
            <a:off x="1476656" y="6466613"/>
            <a:ext cx="2956377" cy="230792"/>
          </a:xfrm>
          <a:prstGeom prst="rect">
            <a:avLst/>
          </a:prstGeom>
          <a:noFill/>
          <a:ln>
            <a:noFill/>
          </a:ln>
        </p:spPr>
        <p:txBody>
          <a:bodyPr spcFirstLastPara="1" wrap="square" lIns="91425" tIns="45700" rIns="91425" bIns="45700" anchor="t" anchorCtr="0">
            <a:spAutoFit/>
          </a:bodyPr>
          <a:lstStyle/>
          <a:p>
            <a:pPr lvl="0"/>
            <a:r>
              <a:rPr lang="en-US" sz="900" dirty="0">
                <a:solidFill>
                  <a:schemeClr val="bg1"/>
                </a:solidFill>
                <a:latin typeface="Segoe UI" panose="020B0502040204020203" pitchFamily="34" charset="0"/>
                <a:ea typeface="Segoe UI"/>
                <a:cs typeface="Segoe UI" panose="020B0502040204020203" pitchFamily="34" charset="0"/>
                <a:sym typeface="Segoe UI"/>
              </a:rPr>
              <a:t>Source: NAEP</a:t>
            </a:r>
          </a:p>
        </p:txBody>
      </p:sp>
    </p:spTree>
    <p:extLst>
      <p:ext uri="{BB962C8B-B14F-4D97-AF65-F5344CB8AC3E}">
        <p14:creationId xmlns:p14="http://schemas.microsoft.com/office/powerpoint/2010/main" val="17361299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45"/>
        <p:cNvGrpSpPr/>
        <p:nvPr/>
      </p:nvGrpSpPr>
      <p:grpSpPr>
        <a:xfrm>
          <a:off x="0" y="0"/>
          <a:ext cx="0" cy="0"/>
          <a:chOff x="0" y="0"/>
          <a:chExt cx="0" cy="0"/>
        </a:xfrm>
      </p:grpSpPr>
      <p:sp>
        <p:nvSpPr>
          <p:cNvPr id="646" name="Google Shape;646;p36"/>
          <p:cNvSpPr txBox="1"/>
          <p:nvPr/>
        </p:nvSpPr>
        <p:spPr>
          <a:xfrm>
            <a:off x="686778" y="2124040"/>
            <a:ext cx="4995367" cy="790233"/>
          </a:xfrm>
          <a:prstGeom prst="rect">
            <a:avLst/>
          </a:prstGeom>
          <a:noFill/>
          <a:ln>
            <a:noFill/>
          </a:ln>
        </p:spPr>
        <p:txBody>
          <a:bodyPr spcFirstLastPara="1" wrap="square" lIns="0" tIns="0" rIns="0" bIns="0" anchor="t" anchorCtr="0">
            <a:noAutofit/>
          </a:bodyPr>
          <a:lstStyle/>
          <a:p>
            <a:pPr marL="0" marR="0" lvl="0" indent="0" rtl="0">
              <a:lnSpc>
                <a:spcPct val="100000"/>
              </a:lnSpc>
              <a:spcBef>
                <a:spcPts val="0"/>
              </a:spcBef>
              <a:spcAft>
                <a:spcPts val="0"/>
              </a:spcAft>
              <a:buClr>
                <a:schemeClr val="lt1"/>
              </a:buClr>
              <a:buSzPts val="3600"/>
              <a:buFont typeface="Segoe UI"/>
              <a:buNone/>
            </a:pPr>
            <a:r>
              <a:rPr lang="en-GB" sz="2000" b="1" dirty="0">
                <a:solidFill>
                  <a:srgbClr val="082567"/>
                </a:solidFill>
                <a:latin typeface="Segoe UI" panose="020B0502040204020203" pitchFamily="34" charset="0"/>
                <a:ea typeface="Segoe UI"/>
                <a:cs typeface="Segoe UI" panose="020B0502040204020203" pitchFamily="34" charset="0"/>
                <a:sym typeface="Segoe UI"/>
              </a:rPr>
              <a:t>Data from TWC shows where the Texas jobs are: healthcare, management, technology. </a:t>
            </a:r>
          </a:p>
          <a:p>
            <a:pPr marL="0" marR="0" lvl="0" indent="0" rtl="0">
              <a:lnSpc>
                <a:spcPct val="100000"/>
              </a:lnSpc>
              <a:spcBef>
                <a:spcPts val="0"/>
              </a:spcBef>
              <a:spcAft>
                <a:spcPts val="0"/>
              </a:spcAft>
              <a:buClr>
                <a:schemeClr val="lt1"/>
              </a:buClr>
              <a:buSzPts val="3600"/>
              <a:buFont typeface="Segoe UI"/>
              <a:buNone/>
            </a:pPr>
            <a:endParaRPr lang="en-GB" sz="1200" b="1" dirty="0">
              <a:solidFill>
                <a:srgbClr val="082567"/>
              </a:solidFill>
              <a:latin typeface="Segoe UI" panose="020B0502040204020203" pitchFamily="34" charset="0"/>
              <a:ea typeface="Segoe UI"/>
              <a:cs typeface="Segoe UI" panose="020B0502040204020203" pitchFamily="34" charset="0"/>
              <a:sym typeface="Segoe UI"/>
            </a:endParaRPr>
          </a:p>
          <a:p>
            <a:pPr marL="0" marR="0" lvl="0" indent="0" rtl="0">
              <a:lnSpc>
                <a:spcPct val="100000"/>
              </a:lnSpc>
              <a:spcBef>
                <a:spcPts val="0"/>
              </a:spcBef>
              <a:spcAft>
                <a:spcPts val="0"/>
              </a:spcAft>
              <a:buClr>
                <a:schemeClr val="lt1"/>
              </a:buClr>
              <a:buSzPts val="3600"/>
              <a:buFont typeface="Segoe UI"/>
              <a:buNone/>
            </a:pPr>
            <a:r>
              <a:rPr lang="en-GB" sz="2000" b="1" dirty="0">
                <a:solidFill>
                  <a:srgbClr val="082567"/>
                </a:solidFill>
                <a:latin typeface="Segoe UI" panose="020B0502040204020203" pitchFamily="34" charset="0"/>
                <a:ea typeface="Segoe UI"/>
                <a:cs typeface="Segoe UI" panose="020B0502040204020203" pitchFamily="34" charset="0"/>
                <a:sym typeface="Segoe UI"/>
              </a:rPr>
              <a:t>At our current performance levels, will our students be qualified for these jobs? </a:t>
            </a:r>
            <a:endParaRPr lang="en-GB" sz="1000" dirty="0">
              <a:solidFill>
                <a:srgbClr val="082567"/>
              </a:solidFill>
              <a:latin typeface="Segoe UI" panose="020B0502040204020203" pitchFamily="34" charset="0"/>
              <a:ea typeface="Segoe UI"/>
              <a:cs typeface="Segoe UI" panose="020B0502040204020203" pitchFamily="34" charset="0"/>
              <a:sym typeface="Segoe UI"/>
            </a:endParaRPr>
          </a:p>
        </p:txBody>
      </p:sp>
      <p:sp>
        <p:nvSpPr>
          <p:cNvPr id="648" name="Google Shape;648;p36"/>
          <p:cNvSpPr txBox="1"/>
          <p:nvPr/>
        </p:nvSpPr>
        <p:spPr>
          <a:xfrm>
            <a:off x="1730180" y="6424593"/>
            <a:ext cx="2405984" cy="23079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dirty="0">
                <a:solidFill>
                  <a:schemeClr val="bg1"/>
                </a:solidFill>
                <a:latin typeface="Segoe UI" panose="020B0502040204020203" pitchFamily="34" charset="0"/>
                <a:ea typeface="Segoe UI"/>
                <a:cs typeface="Segoe UI" panose="020B0502040204020203" pitchFamily="34" charset="0"/>
                <a:sym typeface="Segoe UI"/>
              </a:rPr>
              <a:t>Source: Texas Workforce Commission</a:t>
            </a:r>
          </a:p>
        </p:txBody>
      </p:sp>
      <p:sp>
        <p:nvSpPr>
          <p:cNvPr id="652" name="Google Shape;652;p36"/>
          <p:cNvSpPr txBox="1"/>
          <p:nvPr/>
        </p:nvSpPr>
        <p:spPr>
          <a:xfrm>
            <a:off x="6732820" y="911966"/>
            <a:ext cx="4799865" cy="369988"/>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F36852"/>
              </a:buClr>
              <a:buSzPts val="1800"/>
              <a:buFont typeface="Segoe UI"/>
              <a:buNone/>
            </a:pPr>
            <a:r>
              <a:rPr lang="en-US" sz="1600" b="1" dirty="0">
                <a:latin typeface="Segoe UI" panose="020B0502040204020203" pitchFamily="34" charset="0"/>
                <a:ea typeface="Segoe UI"/>
                <a:cs typeface="Segoe UI" panose="020B0502040204020203" pitchFamily="34" charset="0"/>
                <a:sym typeface="Segoe UI"/>
              </a:rPr>
              <a:t>Top Occupations by Postings</a:t>
            </a:r>
            <a:endParaRPr lang="en-US" sz="800" dirty="0">
              <a:latin typeface="Segoe UI" panose="020B0502040204020203" pitchFamily="34" charset="0"/>
              <a:ea typeface="Segoe UI"/>
              <a:cs typeface="Segoe UI" panose="020B0502040204020203" pitchFamily="34" charset="0"/>
              <a:sym typeface="Segoe UI"/>
            </a:endParaRPr>
          </a:p>
        </p:txBody>
      </p:sp>
      <p:cxnSp>
        <p:nvCxnSpPr>
          <p:cNvPr id="9" name="Straight Connector 8">
            <a:extLst>
              <a:ext uri="{FF2B5EF4-FFF2-40B4-BE49-F238E27FC236}">
                <a16:creationId xmlns:a16="http://schemas.microsoft.com/office/drawing/2014/main" id="{7FBCDE55-1196-26B5-5B1A-3CDFCBF7CDFC}"/>
              </a:ext>
            </a:extLst>
          </p:cNvPr>
          <p:cNvCxnSpPr>
            <a:cxnSpLocks/>
          </p:cNvCxnSpPr>
          <p:nvPr/>
        </p:nvCxnSpPr>
        <p:spPr>
          <a:xfrm flipV="1">
            <a:off x="6079958" y="911966"/>
            <a:ext cx="0" cy="424916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Google Shape;649;p36">
            <a:extLst>
              <a:ext uri="{FF2B5EF4-FFF2-40B4-BE49-F238E27FC236}">
                <a16:creationId xmlns:a16="http://schemas.microsoft.com/office/drawing/2014/main" id="{CC3CB31A-612F-9F82-689E-3B927E49CF55}"/>
              </a:ext>
            </a:extLst>
          </p:cNvPr>
          <p:cNvGraphicFramePr/>
          <p:nvPr/>
        </p:nvGraphicFramePr>
        <p:xfrm>
          <a:off x="6726142" y="1378714"/>
          <a:ext cx="4779080" cy="3866690"/>
        </p:xfrm>
        <a:graphic>
          <a:graphicData uri="http://schemas.openxmlformats.org/drawingml/2006/table">
            <a:tbl>
              <a:tblPr firstRow="1" bandRow="1">
                <a:noFill/>
              </a:tblPr>
              <a:tblGrid>
                <a:gridCol w="3753465">
                  <a:extLst>
                    <a:ext uri="{9D8B030D-6E8A-4147-A177-3AD203B41FA5}">
                      <a16:colId xmlns:a16="http://schemas.microsoft.com/office/drawing/2014/main" val="20000"/>
                    </a:ext>
                  </a:extLst>
                </a:gridCol>
                <a:gridCol w="1025615">
                  <a:extLst>
                    <a:ext uri="{9D8B030D-6E8A-4147-A177-3AD203B41FA5}">
                      <a16:colId xmlns:a16="http://schemas.microsoft.com/office/drawing/2014/main" val="20001"/>
                    </a:ext>
                  </a:extLst>
                </a:gridCol>
              </a:tblGrid>
              <a:tr h="362899">
                <a:tc>
                  <a:txBody>
                    <a:bodyPr/>
                    <a:lstStyle/>
                    <a:p>
                      <a:pPr marL="0" marR="0" lvl="0" indent="0" algn="l" rtl="0">
                        <a:spcBef>
                          <a:spcPts val="0"/>
                        </a:spcBef>
                        <a:spcAft>
                          <a:spcPts val="0"/>
                        </a:spcAft>
                        <a:buNone/>
                      </a:pPr>
                      <a:r>
                        <a:rPr lang="en-US" sz="1400" b="1" dirty="0">
                          <a:solidFill>
                            <a:schemeClr val="bg1"/>
                          </a:solidFill>
                          <a:latin typeface="Segoe UI" panose="020B0502040204020203" pitchFamily="34" charset="0"/>
                          <a:ea typeface="Segoe UI"/>
                          <a:cs typeface="Segoe UI" panose="020B0502040204020203" pitchFamily="34" charset="0"/>
                          <a:sym typeface="Segoe UI"/>
                        </a:rPr>
                        <a:t>Occupation</a:t>
                      </a:r>
                      <a:endParaRPr sz="1400" b="1" dirty="0">
                        <a:solidFill>
                          <a:schemeClr val="bg1"/>
                        </a:solidFill>
                        <a:latin typeface="Segoe UI" panose="020B0502040204020203" pitchFamily="34" charset="0"/>
                        <a:ea typeface="Segoe UI"/>
                        <a:cs typeface="Segoe UI" panose="020B0502040204020203" pitchFamily="34" charset="0"/>
                        <a:sym typeface="Segoe UI"/>
                      </a:endParaRPr>
                    </a:p>
                  </a:txBody>
                  <a:tcPr marL="91450" marR="91450" marT="45725" marB="45725">
                    <a:lnL w="12700" cmpd="sng">
                      <a:noFill/>
                      <a:prstDash val="solid"/>
                    </a:lnL>
                    <a:lnR w="127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F36852"/>
                    </a:solidFill>
                  </a:tcPr>
                </a:tc>
                <a:tc>
                  <a:txBody>
                    <a:bodyPr/>
                    <a:lstStyle/>
                    <a:p>
                      <a:pPr marL="0" marR="0" lvl="0" indent="0" algn="l" rtl="0">
                        <a:spcBef>
                          <a:spcPts val="0"/>
                        </a:spcBef>
                        <a:spcAft>
                          <a:spcPts val="0"/>
                        </a:spcAft>
                        <a:buNone/>
                      </a:pPr>
                      <a:r>
                        <a:rPr lang="en-US" sz="1400" b="1" dirty="0">
                          <a:solidFill>
                            <a:schemeClr val="bg1"/>
                          </a:solidFill>
                          <a:latin typeface="Segoe UI" panose="020B0502040204020203" pitchFamily="34" charset="0"/>
                          <a:ea typeface="Segoe UI"/>
                          <a:cs typeface="Segoe UI" panose="020B0502040204020203" pitchFamily="34" charset="0"/>
                          <a:sym typeface="Segoe UI"/>
                        </a:rPr>
                        <a:t>July 2022</a:t>
                      </a:r>
                      <a:endParaRPr sz="1400" b="1" dirty="0">
                        <a:solidFill>
                          <a:schemeClr val="bg1"/>
                        </a:solidFill>
                        <a:latin typeface="Segoe UI" panose="020B0502040204020203" pitchFamily="34" charset="0"/>
                        <a:ea typeface="Segoe UI"/>
                        <a:cs typeface="Segoe UI" panose="020B0502040204020203" pitchFamily="34" charset="0"/>
                        <a:sym typeface="Segoe UI"/>
                      </a:endParaRPr>
                    </a:p>
                  </a:txBody>
                  <a:tcPr marL="91450" marR="91450" marT="45725" marB="45725">
                    <a:lnL w="12700" cap="flat" cmpd="sng" algn="ctr">
                      <a:no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rgbClr val="F36852"/>
                    </a:solidFill>
                  </a:tcPr>
                </a:tc>
                <a:extLst>
                  <a:ext uri="{0D108BD9-81ED-4DB2-BD59-A6C34878D82A}">
                    <a16:rowId xmlns:a16="http://schemas.microsoft.com/office/drawing/2014/main" val="10000"/>
                  </a:ext>
                </a:extLst>
              </a:tr>
              <a:tr h="338509">
                <a:tc>
                  <a:txBody>
                    <a:bodyPr/>
                    <a:lstStyle/>
                    <a:p>
                      <a:pPr marL="0" marR="0" lvl="0" indent="0" algn="l"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Registered Nurses</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prstDash val="solid"/>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r" rtl="0">
                        <a:spcBef>
                          <a:spcPts val="0"/>
                        </a:spcBef>
                        <a:spcAft>
                          <a:spcPts val="0"/>
                        </a:spcAft>
                        <a:buNone/>
                      </a:pPr>
                      <a:r>
                        <a:rPr lang="en-US" sz="1200" b="0" dirty="0">
                          <a:solidFill>
                            <a:schemeClr val="tx1"/>
                          </a:solidFill>
                        </a:rPr>
                        <a:t>36,356</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prstDash val="solid"/>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1"/>
                  </a:ext>
                </a:extLst>
              </a:tr>
              <a:tr h="338509">
                <a:tc>
                  <a:txBody>
                    <a:bodyPr/>
                    <a:lstStyle/>
                    <a:p>
                      <a:pPr marL="0" marR="0" lvl="0" indent="0" algn="l"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Software Developers, Applications</a:t>
                      </a: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r" rtl="0">
                        <a:spcBef>
                          <a:spcPts val="0"/>
                        </a:spcBef>
                        <a:spcAft>
                          <a:spcPts val="0"/>
                        </a:spcAft>
                        <a:buNone/>
                      </a:pPr>
                      <a:r>
                        <a:rPr lang="en-US" sz="1200" b="0" dirty="0">
                          <a:solidFill>
                            <a:schemeClr val="tx1"/>
                          </a:solidFill>
                        </a:rPr>
                        <a:t>32,995</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2"/>
                  </a:ext>
                </a:extLst>
              </a:tr>
              <a:tr h="338509">
                <a:tc>
                  <a:txBody>
                    <a:bodyPr/>
                    <a:lstStyle/>
                    <a:p>
                      <a:pPr marL="0" marR="0" lvl="0" indent="0" algn="l"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Computer Occupations, All Other</a:t>
                      </a: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r" rtl="0">
                        <a:spcBef>
                          <a:spcPts val="0"/>
                        </a:spcBef>
                        <a:spcAft>
                          <a:spcPts val="0"/>
                        </a:spcAft>
                        <a:buNone/>
                      </a:pPr>
                      <a:r>
                        <a:rPr lang="en-US" sz="1200" b="0" dirty="0">
                          <a:solidFill>
                            <a:schemeClr val="tx1"/>
                          </a:solidFill>
                        </a:rPr>
                        <a:t>25,348</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3"/>
                  </a:ext>
                </a:extLst>
              </a:tr>
              <a:tr h="338509">
                <a:tc>
                  <a:txBody>
                    <a:bodyPr/>
                    <a:lstStyle/>
                    <a:p>
                      <a:pPr marL="0" marR="0" lvl="0" indent="0" algn="l"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Sales Representatives, Technical &amp; Scientific Products</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r" rtl="0">
                        <a:spcBef>
                          <a:spcPts val="0"/>
                        </a:spcBef>
                        <a:spcAft>
                          <a:spcPts val="0"/>
                        </a:spcAft>
                        <a:buNone/>
                      </a:pPr>
                      <a:r>
                        <a:rPr lang="en-US" sz="1200" b="0" dirty="0">
                          <a:solidFill>
                            <a:schemeClr val="tx1"/>
                          </a:solidFill>
                        </a:rPr>
                        <a:t>24,793</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4"/>
                  </a:ext>
                </a:extLst>
              </a:tr>
              <a:tr h="338509">
                <a:tc>
                  <a:txBody>
                    <a:bodyPr/>
                    <a:lstStyle/>
                    <a:p>
                      <a:pPr marL="0" marR="0" lvl="0" indent="0" algn="l"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Managers, All Other</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r"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21,840</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5"/>
                  </a:ext>
                </a:extLst>
              </a:tr>
              <a:tr h="338509">
                <a:tc>
                  <a:txBody>
                    <a:bodyPr/>
                    <a:lstStyle/>
                    <a:p>
                      <a:pPr marL="0" marR="0" lvl="0" indent="0" algn="l"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Customer Service Representatives</a:t>
                      </a: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r" rtl="0">
                        <a:spcBef>
                          <a:spcPts val="0"/>
                        </a:spcBef>
                        <a:spcAft>
                          <a:spcPts val="0"/>
                        </a:spcAft>
                        <a:buNone/>
                      </a:pPr>
                      <a:r>
                        <a:rPr lang="en-US" sz="1200" b="0" dirty="0">
                          <a:solidFill>
                            <a:schemeClr val="tx1"/>
                          </a:solidFill>
                        </a:rPr>
                        <a:t>21,214</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6"/>
                  </a:ext>
                </a:extLst>
              </a:tr>
              <a:tr h="338509">
                <a:tc>
                  <a:txBody>
                    <a:bodyPr/>
                    <a:lstStyle/>
                    <a:p>
                      <a:pPr marL="0" marR="0" lvl="0" indent="0" algn="l"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Heavy &amp; Tractor- Trailer Truck Drivers</a:t>
                      </a: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r" rtl="0">
                        <a:spcBef>
                          <a:spcPts val="0"/>
                        </a:spcBef>
                        <a:spcAft>
                          <a:spcPts val="0"/>
                        </a:spcAft>
                        <a:buNone/>
                      </a:pPr>
                      <a:r>
                        <a:rPr lang="en-US" sz="1200" b="0" dirty="0">
                          <a:solidFill>
                            <a:schemeClr val="tx1"/>
                          </a:solidFill>
                        </a:rPr>
                        <a:t>20,229</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7"/>
                  </a:ext>
                </a:extLst>
              </a:tr>
              <a:tr h="338509">
                <a:tc>
                  <a:txBody>
                    <a:bodyPr/>
                    <a:lstStyle/>
                    <a:p>
                      <a:pPr marL="0" marR="0" lvl="0" indent="0" algn="l"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Retail Salespersons</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r" rtl="0">
                        <a:spcBef>
                          <a:spcPts val="0"/>
                        </a:spcBef>
                        <a:spcAft>
                          <a:spcPts val="0"/>
                        </a:spcAft>
                        <a:buNone/>
                      </a:pPr>
                      <a:r>
                        <a:rPr lang="en-US" sz="1200" b="0" dirty="0">
                          <a:solidFill>
                            <a:schemeClr val="tx1"/>
                          </a:solidFill>
                        </a:rPr>
                        <a:t>19,227</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8"/>
                  </a:ext>
                </a:extLst>
              </a:tr>
              <a:tr h="326610">
                <a:tc>
                  <a:txBody>
                    <a:bodyPr/>
                    <a:lstStyle/>
                    <a:p>
                      <a:pPr marL="0" marR="0" lvl="0" indent="0" algn="l" rtl="0">
                        <a:spcBef>
                          <a:spcPts val="0"/>
                        </a:spcBef>
                        <a:spcAft>
                          <a:spcPts val="0"/>
                        </a:spcAft>
                        <a:buNone/>
                      </a:pPr>
                      <a:r>
                        <a:rPr lang="en-US" sz="1200" b="0" dirty="0">
                          <a:solidFill>
                            <a:schemeClr val="tx1"/>
                          </a:solidFill>
                          <a:latin typeface="Segoe UI" panose="020B0502040204020203" pitchFamily="34" charset="0"/>
                          <a:ea typeface="Segoe UI"/>
                          <a:cs typeface="Segoe UI" panose="020B0502040204020203" pitchFamily="34" charset="0"/>
                          <a:sym typeface="Segoe UI"/>
                        </a:rPr>
                        <a:t>Combined Food Preparation &amp; Serving Workers, including fast food </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r" rtl="0">
                        <a:spcBef>
                          <a:spcPts val="0"/>
                        </a:spcBef>
                        <a:spcAft>
                          <a:spcPts val="0"/>
                        </a:spcAft>
                        <a:buNone/>
                      </a:pPr>
                      <a:r>
                        <a:rPr lang="en-US" sz="1200" b="0" dirty="0">
                          <a:solidFill>
                            <a:schemeClr val="tx1"/>
                          </a:solidFill>
                        </a:rPr>
                        <a:t>15,796</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9"/>
                  </a:ext>
                </a:extLst>
              </a:tr>
              <a:tr h="3385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Segoe UI" panose="020B0502040204020203" pitchFamily="34" charset="0"/>
                          <a:ea typeface="Segoe UI"/>
                          <a:cs typeface="Segoe UI" panose="020B0502040204020203" pitchFamily="34" charset="0"/>
                          <a:sym typeface="Segoe UI"/>
                        </a:rPr>
                        <a:t>First-Line Supervisors of Retail Sales Workers</a:t>
                      </a:r>
                    </a:p>
                  </a:txBody>
                  <a:tcPr marL="91450" marR="91450" marT="45725" marB="45725">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Segoe UI" panose="020B0502040204020203" pitchFamily="34" charset="0"/>
                          <a:ea typeface="Segoe UI"/>
                          <a:cs typeface="Segoe UI" panose="020B0502040204020203" pitchFamily="34" charset="0"/>
                          <a:sym typeface="Segoe UI"/>
                        </a:rPr>
                        <a:t>15,058</a:t>
                      </a:r>
                      <a:endParaRPr sz="1200" b="0" dirty="0">
                        <a:solidFill>
                          <a:schemeClr val="tx1"/>
                        </a:solidFill>
                        <a:latin typeface="Segoe UI" panose="020B0502040204020203" pitchFamily="34" charset="0"/>
                        <a:ea typeface="Segoe UI"/>
                        <a:cs typeface="Segoe UI" panose="020B0502040204020203" pitchFamily="34" charset="0"/>
                        <a:sym typeface="Segoe UI"/>
                      </a:endParaRPr>
                    </a:p>
                  </a:txBody>
                  <a:tcPr marL="91450" marR="91450" marT="45725" marB="45725"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noFill/>
                      <a:prstDash val="solid"/>
                      <a:round/>
                      <a:headEnd type="none" w="sm" len="sm"/>
                      <a:tailEnd type="none" w="sm" len="sm"/>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386059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3F0854-8A8B-4245-93C2-6013FEBD52B3}"/>
              </a:ext>
            </a:extLst>
          </p:cNvPr>
          <p:cNvSpPr>
            <a:spLocks noGrp="1"/>
          </p:cNvSpPr>
          <p:nvPr>
            <p:ph type="title"/>
          </p:nvPr>
        </p:nvSpPr>
        <p:spPr>
          <a:xfrm>
            <a:off x="743172" y="2804931"/>
            <a:ext cx="5524500" cy="1453827"/>
          </a:xfrm>
        </p:spPr>
        <p:txBody>
          <a:bodyPr/>
          <a:lstStyle/>
          <a:p>
            <a:pPr>
              <a:lnSpc>
                <a:spcPct val="100000"/>
              </a:lnSpc>
            </a:pPr>
            <a:r>
              <a:rPr lang="en-US" dirty="0"/>
              <a:t>How did we get here? </a:t>
            </a:r>
          </a:p>
        </p:txBody>
      </p:sp>
      <p:pic>
        <p:nvPicPr>
          <p:cNvPr id="3" name="Picture Placeholder 2">
            <a:extLst>
              <a:ext uri="{FF2B5EF4-FFF2-40B4-BE49-F238E27FC236}">
                <a16:creationId xmlns:a16="http://schemas.microsoft.com/office/drawing/2014/main" id="{54E8BA9D-6512-D034-4A6D-CC7CAFAC2DAA}"/>
              </a:ext>
            </a:extLst>
          </p:cNvPr>
          <p:cNvPicPr>
            <a:picLocks noGrp="1" noChangeAspect="1"/>
          </p:cNvPicPr>
          <p:nvPr>
            <p:ph type="pic" sz="quarter" idx="10"/>
          </p:nvPr>
        </p:nvPicPr>
        <p:blipFill>
          <a:blip r:embed="rId2" cstate="print">
            <a:extLst>
              <a:ext uri="{28A0092B-C50C-407E-A947-70E740481C1C}">
                <a14:useLocalDpi xmlns:a14="http://schemas.microsoft.com/office/drawing/2010/main"/>
              </a:ext>
            </a:extLst>
          </a:blip>
          <a:srcRect/>
          <a:stretch/>
        </p:blipFill>
        <p:spPr>
          <a:xfrm>
            <a:off x="6862764" y="-2"/>
            <a:ext cx="5329236" cy="6858001"/>
          </a:xfrm>
        </p:spPr>
      </p:pic>
    </p:spTree>
    <p:extLst>
      <p:ext uri="{BB962C8B-B14F-4D97-AF65-F5344CB8AC3E}">
        <p14:creationId xmlns:p14="http://schemas.microsoft.com/office/powerpoint/2010/main" val="4279184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B7F4EBDE-FD5F-FB52-D15C-9E27B84763BF}"/>
              </a:ext>
            </a:extLst>
          </p:cNvPr>
          <p:cNvCxnSpPr>
            <a:cxnSpLocks/>
            <a:stCxn id="22" idx="2"/>
            <a:endCxn id="31" idx="0"/>
          </p:cNvCxnSpPr>
          <p:nvPr/>
        </p:nvCxnSpPr>
        <p:spPr>
          <a:xfrm>
            <a:off x="976294" y="2037582"/>
            <a:ext cx="0" cy="3062768"/>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C8E93AB7-03D8-371F-D869-D0FEA0641B89}"/>
              </a:ext>
            </a:extLst>
          </p:cNvPr>
          <p:cNvGrpSpPr/>
          <p:nvPr/>
        </p:nvGrpSpPr>
        <p:grpSpPr>
          <a:xfrm>
            <a:off x="1798197" y="4050509"/>
            <a:ext cx="1478404" cy="766854"/>
            <a:chOff x="9858375" y="4147407"/>
            <a:chExt cx="1762125" cy="914022"/>
          </a:xfrm>
        </p:grpSpPr>
        <p:sp>
          <p:nvSpPr>
            <p:cNvPr id="18" name="Rectangle: Rounded Corners 17">
              <a:extLst>
                <a:ext uri="{FF2B5EF4-FFF2-40B4-BE49-F238E27FC236}">
                  <a16:creationId xmlns:a16="http://schemas.microsoft.com/office/drawing/2014/main" id="{680CD899-8026-EDED-08A0-51F90C104045}"/>
                </a:ext>
              </a:extLst>
            </p:cNvPr>
            <p:cNvSpPr/>
            <p:nvPr/>
          </p:nvSpPr>
          <p:spPr>
            <a:xfrm>
              <a:off x="9858375" y="4147407"/>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4" name="Picture 2" descr="Texas Assessment of Knowledge and Skills - Wikipedia">
              <a:extLst>
                <a:ext uri="{FF2B5EF4-FFF2-40B4-BE49-F238E27FC236}">
                  <a16:creationId xmlns:a16="http://schemas.microsoft.com/office/drawing/2014/main" id="{4C6D0E48-1684-994A-B9A1-A03CEC5B6527}"/>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0220324" y="4219950"/>
              <a:ext cx="1038226" cy="7689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EB5EAAA8-F6D1-A167-B492-031CF56B422E}"/>
              </a:ext>
            </a:extLst>
          </p:cNvPr>
          <p:cNvGrpSpPr/>
          <p:nvPr/>
        </p:nvGrpSpPr>
        <p:grpSpPr>
          <a:xfrm>
            <a:off x="1798197" y="1454100"/>
            <a:ext cx="1478404" cy="766854"/>
            <a:chOff x="9858375" y="1085231"/>
            <a:chExt cx="1762125" cy="914022"/>
          </a:xfrm>
        </p:grpSpPr>
        <p:sp>
          <p:nvSpPr>
            <p:cNvPr id="21" name="Rectangle: Rounded Corners 20">
              <a:extLst>
                <a:ext uri="{FF2B5EF4-FFF2-40B4-BE49-F238E27FC236}">
                  <a16:creationId xmlns:a16="http://schemas.microsoft.com/office/drawing/2014/main" id="{731A932F-12C9-0EFF-9FD0-C1DE76CB31B4}"/>
                </a:ext>
              </a:extLst>
            </p:cNvPr>
            <p:cNvSpPr/>
            <p:nvPr/>
          </p:nvSpPr>
          <p:spPr>
            <a:xfrm>
              <a:off x="9858375" y="1085231"/>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5" name="Picture 24">
              <a:extLst>
                <a:ext uri="{FF2B5EF4-FFF2-40B4-BE49-F238E27FC236}">
                  <a16:creationId xmlns:a16="http://schemas.microsoft.com/office/drawing/2014/main" id="{768890DE-E2B8-114E-91F8-3359DD1F1EF1}"/>
                </a:ext>
              </a:extLst>
            </p:cNvPr>
            <p:cNvPicPr>
              <a:picLocks noChangeAspect="1"/>
            </p:cNvPicPr>
            <p:nvPr/>
          </p:nvPicPr>
          <p:blipFill>
            <a:blip r:embed="rId4"/>
            <a:stretch>
              <a:fillRect/>
            </a:stretch>
          </p:blipFill>
          <p:spPr>
            <a:xfrm>
              <a:off x="10220324" y="1189125"/>
              <a:ext cx="1038226" cy="706234"/>
            </a:xfrm>
            <a:prstGeom prst="rect">
              <a:avLst/>
            </a:prstGeom>
          </p:spPr>
        </p:pic>
      </p:grpSp>
      <p:grpSp>
        <p:nvGrpSpPr>
          <p:cNvPr id="13" name="Group 12">
            <a:extLst>
              <a:ext uri="{FF2B5EF4-FFF2-40B4-BE49-F238E27FC236}">
                <a16:creationId xmlns:a16="http://schemas.microsoft.com/office/drawing/2014/main" id="{B82726AE-0417-98C7-8E19-DC8FC05900B7}"/>
              </a:ext>
            </a:extLst>
          </p:cNvPr>
          <p:cNvGrpSpPr/>
          <p:nvPr/>
        </p:nvGrpSpPr>
        <p:grpSpPr>
          <a:xfrm>
            <a:off x="1798197" y="4944090"/>
            <a:ext cx="1478404" cy="766854"/>
            <a:chOff x="9858375" y="5112140"/>
            <a:chExt cx="1762125" cy="914022"/>
          </a:xfrm>
        </p:grpSpPr>
        <p:sp>
          <p:nvSpPr>
            <p:cNvPr id="19" name="Rectangle: Rounded Corners 18">
              <a:extLst>
                <a:ext uri="{FF2B5EF4-FFF2-40B4-BE49-F238E27FC236}">
                  <a16:creationId xmlns:a16="http://schemas.microsoft.com/office/drawing/2014/main" id="{426BAF8C-2675-B03A-72AE-51F63BDF3C81}"/>
                </a:ext>
              </a:extLst>
            </p:cNvPr>
            <p:cNvSpPr/>
            <p:nvPr/>
          </p:nvSpPr>
          <p:spPr>
            <a:xfrm>
              <a:off x="9858375" y="5112140"/>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6" name="Picture 6" descr="Test Administrator Manual Grades 3–5">
              <a:extLst>
                <a:ext uri="{FF2B5EF4-FFF2-40B4-BE49-F238E27FC236}">
                  <a16:creationId xmlns:a16="http://schemas.microsoft.com/office/drawing/2014/main" id="{66BA8595-BA5E-2642-86A5-6044D87F784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227983" y="5257290"/>
              <a:ext cx="1022908" cy="6237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095538AC-188C-1CB5-19EE-E769D1830C39}"/>
              </a:ext>
            </a:extLst>
          </p:cNvPr>
          <p:cNvGrpSpPr/>
          <p:nvPr/>
        </p:nvGrpSpPr>
        <p:grpSpPr>
          <a:xfrm>
            <a:off x="1798197" y="3180376"/>
            <a:ext cx="1478404" cy="766854"/>
            <a:chOff x="9858375" y="3179156"/>
            <a:chExt cx="1762125" cy="914022"/>
          </a:xfrm>
        </p:grpSpPr>
        <p:sp>
          <p:nvSpPr>
            <p:cNvPr id="17" name="Rectangle: Rounded Corners 16">
              <a:extLst>
                <a:ext uri="{FF2B5EF4-FFF2-40B4-BE49-F238E27FC236}">
                  <a16:creationId xmlns:a16="http://schemas.microsoft.com/office/drawing/2014/main" id="{716B75A7-A827-8263-B55E-B06B383AB7C6}"/>
                </a:ext>
              </a:extLst>
            </p:cNvPr>
            <p:cNvSpPr/>
            <p:nvPr/>
          </p:nvSpPr>
          <p:spPr>
            <a:xfrm>
              <a:off x="9858375" y="3179156"/>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7" name="Picture 26" descr="A picture containing application&#10;&#10;Description automatically generated">
              <a:extLst>
                <a:ext uri="{FF2B5EF4-FFF2-40B4-BE49-F238E27FC236}">
                  <a16:creationId xmlns:a16="http://schemas.microsoft.com/office/drawing/2014/main" id="{C7C5B600-E9FC-3245-9949-36E95FA8CFB7}"/>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0153613" y="3250116"/>
              <a:ext cx="1171648" cy="772102"/>
            </a:xfrm>
            <a:prstGeom prst="rect">
              <a:avLst/>
            </a:prstGeom>
          </p:spPr>
        </p:pic>
      </p:grpSp>
      <p:grpSp>
        <p:nvGrpSpPr>
          <p:cNvPr id="10" name="Group 9">
            <a:extLst>
              <a:ext uri="{FF2B5EF4-FFF2-40B4-BE49-F238E27FC236}">
                <a16:creationId xmlns:a16="http://schemas.microsoft.com/office/drawing/2014/main" id="{A16BCB9A-01DF-AC0C-E88B-E2B0F0F5D62D}"/>
              </a:ext>
            </a:extLst>
          </p:cNvPr>
          <p:cNvGrpSpPr/>
          <p:nvPr/>
        </p:nvGrpSpPr>
        <p:grpSpPr>
          <a:xfrm>
            <a:off x="1798197" y="2312040"/>
            <a:ext cx="1478404" cy="766854"/>
            <a:chOff x="9858375" y="2132981"/>
            <a:chExt cx="1762125" cy="914022"/>
          </a:xfrm>
        </p:grpSpPr>
        <p:sp>
          <p:nvSpPr>
            <p:cNvPr id="15" name="Rectangle: Rounded Corners 14">
              <a:extLst>
                <a:ext uri="{FF2B5EF4-FFF2-40B4-BE49-F238E27FC236}">
                  <a16:creationId xmlns:a16="http://schemas.microsoft.com/office/drawing/2014/main" id="{8938BFBA-DDCB-DBFC-3C2A-C93E44D573D0}"/>
                </a:ext>
              </a:extLst>
            </p:cNvPr>
            <p:cNvSpPr/>
            <p:nvPr/>
          </p:nvSpPr>
          <p:spPr>
            <a:xfrm>
              <a:off x="9858375" y="2132981"/>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8" name="Picture 27" descr="Text&#10;&#10;Description automatically generated">
              <a:extLst>
                <a:ext uri="{FF2B5EF4-FFF2-40B4-BE49-F238E27FC236}">
                  <a16:creationId xmlns:a16="http://schemas.microsoft.com/office/drawing/2014/main" id="{3E9D9FFD-D7AB-3A4A-B66B-4F1F85D7E25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0162990" y="2278130"/>
              <a:ext cx="1152894" cy="623724"/>
            </a:xfrm>
            <a:prstGeom prst="rect">
              <a:avLst/>
            </a:prstGeom>
          </p:spPr>
        </p:pic>
      </p:grpSp>
      <p:sp>
        <p:nvSpPr>
          <p:cNvPr id="2" name="Title 1">
            <a:extLst>
              <a:ext uri="{FF2B5EF4-FFF2-40B4-BE49-F238E27FC236}">
                <a16:creationId xmlns:a16="http://schemas.microsoft.com/office/drawing/2014/main" id="{94A9EE00-5A3E-F487-B2E3-632FEA668432}"/>
              </a:ext>
            </a:extLst>
          </p:cNvPr>
          <p:cNvSpPr txBox="1">
            <a:spLocks/>
          </p:cNvSpPr>
          <p:nvPr/>
        </p:nvSpPr>
        <p:spPr>
          <a:xfrm>
            <a:off x="3574837" y="1612060"/>
            <a:ext cx="5042323" cy="450934"/>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4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Texas </a:t>
            </a:r>
            <a:r>
              <a:rPr lang="en-US" sz="2400" dirty="0">
                <a:latin typeface="Segoe UI" panose="020B0502040204020203" pitchFamily="34" charset="0"/>
                <a:cs typeface="Segoe UI" panose="020B0502040204020203" pitchFamily="34" charset="0"/>
              </a:rPr>
              <a:t>Assessment of </a:t>
            </a:r>
            <a:r>
              <a:rPr lang="en-US" sz="2400" b="1" dirty="0">
                <a:solidFill>
                  <a:schemeClr val="accent1"/>
                </a:solidFill>
                <a:latin typeface="Segoe UI" panose="020B0502040204020203" pitchFamily="34" charset="0"/>
                <a:cs typeface="Segoe UI" panose="020B0502040204020203" pitchFamily="34" charset="0"/>
              </a:rPr>
              <a:t>BASIC SKILLS</a:t>
            </a:r>
            <a:endParaRPr lang="en-US" sz="2400" b="1" dirty="0">
              <a:latin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90AF4B9A-C4F0-6AAB-A825-9E48C670B922}"/>
              </a:ext>
            </a:extLst>
          </p:cNvPr>
          <p:cNvSpPr txBox="1">
            <a:spLocks/>
          </p:cNvSpPr>
          <p:nvPr/>
        </p:nvSpPr>
        <p:spPr>
          <a:xfrm>
            <a:off x="3574837" y="2472418"/>
            <a:ext cx="5974201" cy="446099"/>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4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Texas </a:t>
            </a:r>
            <a:r>
              <a:rPr lang="en-US" sz="2400" dirty="0">
                <a:latin typeface="Segoe UI" panose="020B0502040204020203" pitchFamily="34" charset="0"/>
                <a:cs typeface="Segoe UI" panose="020B0502040204020203" pitchFamily="34" charset="0"/>
              </a:rPr>
              <a:t>Assessment of </a:t>
            </a:r>
            <a:r>
              <a:rPr lang="en-US" sz="2400" b="1" dirty="0">
                <a:solidFill>
                  <a:schemeClr val="accent1"/>
                </a:solidFill>
                <a:latin typeface="Segoe UI" panose="020B0502040204020203" pitchFamily="34" charset="0"/>
                <a:cs typeface="Segoe UI" panose="020B0502040204020203" pitchFamily="34" charset="0"/>
              </a:rPr>
              <a:t>MINIMUM SKILLS</a:t>
            </a:r>
            <a:endParaRPr lang="en-US" sz="2400" b="1" dirty="0">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099CA7D6-6BA4-3097-C085-B14DB08B73C6}"/>
              </a:ext>
            </a:extLst>
          </p:cNvPr>
          <p:cNvSpPr txBox="1">
            <a:spLocks/>
          </p:cNvSpPr>
          <p:nvPr/>
        </p:nvSpPr>
        <p:spPr>
          <a:xfrm>
            <a:off x="3574837" y="3346814"/>
            <a:ext cx="5759096" cy="433978"/>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4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Texas </a:t>
            </a:r>
            <a:r>
              <a:rPr lang="en-US" sz="2400" dirty="0">
                <a:latin typeface="Segoe UI" panose="020B0502040204020203" pitchFamily="34" charset="0"/>
                <a:cs typeface="Segoe UI" panose="020B0502040204020203" pitchFamily="34" charset="0"/>
              </a:rPr>
              <a:t>Assessment of </a:t>
            </a:r>
            <a:r>
              <a:rPr lang="en-US" sz="2400" b="1" dirty="0">
                <a:solidFill>
                  <a:schemeClr val="accent1"/>
                </a:solidFill>
                <a:latin typeface="Segoe UI" panose="020B0502040204020203" pitchFamily="34" charset="0"/>
                <a:cs typeface="Segoe UI" panose="020B0502040204020203" pitchFamily="34" charset="0"/>
              </a:rPr>
              <a:t>ACADEMIC SKILLS</a:t>
            </a:r>
            <a:endParaRPr lang="en-US" sz="2400" b="1" dirty="0">
              <a:latin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84800B60-0B7E-A74F-5932-310B9FA95F32}"/>
              </a:ext>
            </a:extLst>
          </p:cNvPr>
          <p:cNvSpPr txBox="1">
            <a:spLocks/>
          </p:cNvSpPr>
          <p:nvPr/>
        </p:nvSpPr>
        <p:spPr>
          <a:xfrm>
            <a:off x="3574837" y="4203104"/>
            <a:ext cx="6740171" cy="46166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4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Texas </a:t>
            </a:r>
            <a:r>
              <a:rPr lang="en-US" sz="2400" dirty="0">
                <a:latin typeface="Segoe UI" panose="020B0502040204020203" pitchFamily="34" charset="0"/>
                <a:cs typeface="Segoe UI" panose="020B0502040204020203" pitchFamily="34" charset="0"/>
              </a:rPr>
              <a:t>Assessment of </a:t>
            </a:r>
            <a:r>
              <a:rPr lang="en-US" sz="2400" b="1" dirty="0">
                <a:solidFill>
                  <a:schemeClr val="accent1"/>
                </a:solidFill>
                <a:latin typeface="Segoe UI" panose="020B0502040204020203" pitchFamily="34" charset="0"/>
                <a:cs typeface="Segoe UI" panose="020B0502040204020203" pitchFamily="34" charset="0"/>
              </a:rPr>
              <a:t>KNOWLEDGE AND SKILLS</a:t>
            </a:r>
            <a:endParaRPr lang="en-US" sz="2400" b="1" dirty="0">
              <a:latin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F324DD02-3523-0F61-298E-A67BE0A720BF}"/>
              </a:ext>
            </a:extLst>
          </p:cNvPr>
          <p:cNvSpPr txBox="1">
            <a:spLocks/>
          </p:cNvSpPr>
          <p:nvPr/>
        </p:nvSpPr>
        <p:spPr>
          <a:xfrm>
            <a:off x="3574837" y="5104015"/>
            <a:ext cx="7537663" cy="45433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24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State of Texas </a:t>
            </a:r>
            <a:r>
              <a:rPr lang="en-US" sz="2400" dirty="0">
                <a:latin typeface="Segoe UI" panose="020B0502040204020203" pitchFamily="34" charset="0"/>
                <a:cs typeface="Segoe UI" panose="020B0502040204020203" pitchFamily="34" charset="0"/>
              </a:rPr>
              <a:t>Assessment of </a:t>
            </a:r>
            <a:r>
              <a:rPr lang="en-US" sz="2400" b="1" dirty="0">
                <a:solidFill>
                  <a:schemeClr val="accent1"/>
                </a:solidFill>
                <a:latin typeface="Segoe UI" panose="020B0502040204020203" pitchFamily="34" charset="0"/>
                <a:cs typeface="Segoe UI" panose="020B0502040204020203" pitchFamily="34" charset="0"/>
              </a:rPr>
              <a:t>ACADEMIC READINESS</a:t>
            </a:r>
            <a:endParaRPr lang="en-US" sz="2400" b="1" dirty="0">
              <a:latin typeface="Segoe UI" panose="020B0502040204020203" pitchFamily="34" charset="0"/>
              <a:cs typeface="Segoe UI" panose="020B0502040204020203" pitchFamily="34" charset="0"/>
            </a:endParaRPr>
          </a:p>
        </p:txBody>
      </p:sp>
      <p:sp>
        <p:nvSpPr>
          <p:cNvPr id="22" name="TextBox 21">
            <a:extLst>
              <a:ext uri="{FF2B5EF4-FFF2-40B4-BE49-F238E27FC236}">
                <a16:creationId xmlns:a16="http://schemas.microsoft.com/office/drawing/2014/main" id="{CA6779B6-873C-1226-E05B-3DA42AE9F062}"/>
              </a:ext>
            </a:extLst>
          </p:cNvPr>
          <p:cNvSpPr txBox="1"/>
          <p:nvPr/>
        </p:nvSpPr>
        <p:spPr>
          <a:xfrm>
            <a:off x="404793" y="1606695"/>
            <a:ext cx="1143001" cy="430887"/>
          </a:xfrm>
          <a:prstGeom prst="rect">
            <a:avLst/>
          </a:prstGeom>
          <a:noFill/>
        </p:spPr>
        <p:txBody>
          <a:bodyPr wrap="square">
            <a:spAutoFit/>
          </a:bodyPr>
          <a:lstStyle/>
          <a:p>
            <a:pPr algn="ctr"/>
            <a:r>
              <a:rPr lang="en-US" sz="2200" b="1" dirty="0">
                <a:latin typeface="Segoe UI" panose="020B0502040204020203" pitchFamily="34" charset="0"/>
                <a:cs typeface="Segoe UI" panose="020B0502040204020203" pitchFamily="34" charset="0"/>
              </a:rPr>
              <a:t>(1979) </a:t>
            </a:r>
            <a:endParaRPr lang="en-US" sz="2200" dirty="0">
              <a:latin typeface="Segoe UI" panose="020B0502040204020203" pitchFamily="34" charset="0"/>
            </a:endParaRPr>
          </a:p>
        </p:txBody>
      </p:sp>
      <p:sp>
        <p:nvSpPr>
          <p:cNvPr id="23" name="TextBox 22">
            <a:extLst>
              <a:ext uri="{FF2B5EF4-FFF2-40B4-BE49-F238E27FC236}">
                <a16:creationId xmlns:a16="http://schemas.microsoft.com/office/drawing/2014/main" id="{CB3F375A-654E-670D-9147-9CC32A37C65A}"/>
              </a:ext>
            </a:extLst>
          </p:cNvPr>
          <p:cNvSpPr txBox="1"/>
          <p:nvPr/>
        </p:nvSpPr>
        <p:spPr>
          <a:xfrm>
            <a:off x="404793" y="2480024"/>
            <a:ext cx="1143001" cy="430887"/>
          </a:xfrm>
          <a:prstGeom prst="rect">
            <a:avLst/>
          </a:prstGeom>
          <a:solidFill>
            <a:schemeClr val="bg1"/>
          </a:solidFill>
        </p:spPr>
        <p:txBody>
          <a:bodyPr wrap="square">
            <a:spAutoFit/>
          </a:bodyPr>
          <a:lstStyle/>
          <a:p>
            <a:pPr algn="ctr"/>
            <a:r>
              <a:rPr lang="en-US" sz="2200" b="1" dirty="0">
                <a:latin typeface="Segoe UI" panose="020B0502040204020203" pitchFamily="34" charset="0"/>
                <a:cs typeface="Segoe UI" panose="020B0502040204020203" pitchFamily="34" charset="0"/>
              </a:rPr>
              <a:t>(1984) </a:t>
            </a:r>
            <a:endParaRPr lang="en-US" sz="2200" dirty="0">
              <a:latin typeface="Segoe UI" panose="020B0502040204020203" pitchFamily="34" charset="0"/>
            </a:endParaRPr>
          </a:p>
        </p:txBody>
      </p:sp>
      <p:sp>
        <p:nvSpPr>
          <p:cNvPr id="29" name="TextBox 28">
            <a:extLst>
              <a:ext uri="{FF2B5EF4-FFF2-40B4-BE49-F238E27FC236}">
                <a16:creationId xmlns:a16="http://schemas.microsoft.com/office/drawing/2014/main" id="{BCC21211-490D-D538-E25E-6B690AA57388}"/>
              </a:ext>
            </a:extLst>
          </p:cNvPr>
          <p:cNvSpPr txBox="1"/>
          <p:nvPr/>
        </p:nvSpPr>
        <p:spPr>
          <a:xfrm>
            <a:off x="404793" y="3348360"/>
            <a:ext cx="1143001" cy="430887"/>
          </a:xfrm>
          <a:prstGeom prst="rect">
            <a:avLst/>
          </a:prstGeom>
          <a:solidFill>
            <a:schemeClr val="bg1"/>
          </a:solidFill>
        </p:spPr>
        <p:txBody>
          <a:bodyPr wrap="square">
            <a:spAutoFit/>
          </a:bodyPr>
          <a:lstStyle/>
          <a:p>
            <a:pPr algn="ctr"/>
            <a:r>
              <a:rPr lang="en-US" sz="2200" b="1" dirty="0">
                <a:latin typeface="Segoe UI" panose="020B0502040204020203" pitchFamily="34" charset="0"/>
                <a:cs typeface="Segoe UI" panose="020B0502040204020203" pitchFamily="34" charset="0"/>
              </a:rPr>
              <a:t>(1991) </a:t>
            </a:r>
            <a:endParaRPr lang="en-US" sz="2200" dirty="0">
              <a:latin typeface="Segoe UI" panose="020B0502040204020203" pitchFamily="34" charset="0"/>
            </a:endParaRPr>
          </a:p>
        </p:txBody>
      </p:sp>
      <p:sp>
        <p:nvSpPr>
          <p:cNvPr id="30" name="TextBox 29">
            <a:extLst>
              <a:ext uri="{FF2B5EF4-FFF2-40B4-BE49-F238E27FC236}">
                <a16:creationId xmlns:a16="http://schemas.microsoft.com/office/drawing/2014/main" id="{0F93F524-195F-B606-0A5E-370CF0D0E8E0}"/>
              </a:ext>
            </a:extLst>
          </p:cNvPr>
          <p:cNvSpPr txBox="1"/>
          <p:nvPr/>
        </p:nvSpPr>
        <p:spPr>
          <a:xfrm>
            <a:off x="404793" y="4218493"/>
            <a:ext cx="1143001" cy="430887"/>
          </a:xfrm>
          <a:prstGeom prst="rect">
            <a:avLst/>
          </a:prstGeom>
          <a:solidFill>
            <a:schemeClr val="bg1"/>
          </a:solidFill>
        </p:spPr>
        <p:txBody>
          <a:bodyPr wrap="square">
            <a:spAutoFit/>
          </a:bodyPr>
          <a:lstStyle/>
          <a:p>
            <a:pPr algn="ctr"/>
            <a:r>
              <a:rPr lang="en-US" sz="2200" b="1" dirty="0">
                <a:latin typeface="Segoe UI" panose="020B0502040204020203" pitchFamily="34" charset="0"/>
                <a:cs typeface="Segoe UI" panose="020B0502040204020203" pitchFamily="34" charset="0"/>
              </a:rPr>
              <a:t>(2002) </a:t>
            </a:r>
            <a:endParaRPr lang="en-US" sz="2200" dirty="0">
              <a:latin typeface="Segoe UI" panose="020B0502040204020203" pitchFamily="34" charset="0"/>
            </a:endParaRPr>
          </a:p>
        </p:txBody>
      </p:sp>
      <p:sp>
        <p:nvSpPr>
          <p:cNvPr id="31" name="TextBox 30">
            <a:extLst>
              <a:ext uri="{FF2B5EF4-FFF2-40B4-BE49-F238E27FC236}">
                <a16:creationId xmlns:a16="http://schemas.microsoft.com/office/drawing/2014/main" id="{EDD77ECE-6FED-4DD4-EA97-59BC1657E259}"/>
              </a:ext>
            </a:extLst>
          </p:cNvPr>
          <p:cNvSpPr txBox="1"/>
          <p:nvPr/>
        </p:nvSpPr>
        <p:spPr>
          <a:xfrm>
            <a:off x="404793" y="5100350"/>
            <a:ext cx="1143001" cy="430887"/>
          </a:xfrm>
          <a:prstGeom prst="rect">
            <a:avLst/>
          </a:prstGeom>
          <a:noFill/>
        </p:spPr>
        <p:txBody>
          <a:bodyPr wrap="square">
            <a:spAutoFit/>
          </a:bodyPr>
          <a:lstStyle/>
          <a:p>
            <a:pPr algn="ctr"/>
            <a:r>
              <a:rPr lang="en-US" sz="2200" b="1" dirty="0">
                <a:latin typeface="Segoe UI" panose="020B0502040204020203" pitchFamily="34" charset="0"/>
                <a:cs typeface="Segoe UI" panose="020B0502040204020203" pitchFamily="34" charset="0"/>
              </a:rPr>
              <a:t>(2012) </a:t>
            </a:r>
            <a:endParaRPr lang="en-US" sz="2200" dirty="0">
              <a:latin typeface="Segoe UI" panose="020B0502040204020203" pitchFamily="34" charset="0"/>
            </a:endParaRPr>
          </a:p>
        </p:txBody>
      </p:sp>
      <p:sp>
        <p:nvSpPr>
          <p:cNvPr id="3" name="Title 1">
            <a:extLst>
              <a:ext uri="{FF2B5EF4-FFF2-40B4-BE49-F238E27FC236}">
                <a16:creationId xmlns:a16="http://schemas.microsoft.com/office/drawing/2014/main" id="{0BABABC1-8056-A12B-A7A3-0836B33FBD31}"/>
              </a:ext>
            </a:extLst>
          </p:cNvPr>
          <p:cNvSpPr txBox="1">
            <a:spLocks/>
          </p:cNvSpPr>
          <p:nvPr/>
        </p:nvSpPr>
        <p:spPr>
          <a:xfrm>
            <a:off x="404793" y="634279"/>
            <a:ext cx="11169296" cy="45433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200" b="1" u="none" strike="noStrike" kern="1200" cap="none" spc="0" normalizeH="0" baseline="0" noProof="0" dirty="0">
                <a:ln>
                  <a:noFill/>
                </a:ln>
                <a:solidFill>
                  <a:schemeClr val="accent2"/>
                </a:solidFill>
                <a:effectLst/>
                <a:uLnTx/>
                <a:uFillTx/>
                <a:latin typeface="Segoe UI" panose="020B0502040204020203" pitchFamily="34" charset="0"/>
                <a:ea typeface="+mj-ea"/>
                <a:cs typeface="Segoe UI" panose="020B0502040204020203" pitchFamily="34" charset="0"/>
              </a:rPr>
              <a:t>Timeline </a:t>
            </a:r>
            <a:r>
              <a:rPr lang="en-US" sz="3200" b="1" dirty="0">
                <a:solidFill>
                  <a:schemeClr val="accent2"/>
                </a:solidFill>
                <a:latin typeface="Segoe UI" panose="020B0502040204020203" pitchFamily="34" charset="0"/>
                <a:cs typeface="Segoe UI" panose="020B0502040204020203" pitchFamily="34" charset="0"/>
              </a:rPr>
              <a:t>Of Assessment In Texas </a:t>
            </a:r>
            <a:endParaRPr kumimoji="0" lang="en-US" sz="3200" b="1" u="none" strike="noStrike" kern="1200" cap="none" spc="0" normalizeH="0" baseline="0" noProof="0" dirty="0">
              <a:ln>
                <a:noFill/>
              </a:ln>
              <a:solidFill>
                <a:schemeClr val="accent2"/>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162882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522;p24">
            <a:extLst>
              <a:ext uri="{FF2B5EF4-FFF2-40B4-BE49-F238E27FC236}">
                <a16:creationId xmlns:a16="http://schemas.microsoft.com/office/drawing/2014/main" id="{83317811-A315-D849-8D8F-F682B499E6F5}"/>
              </a:ext>
            </a:extLst>
          </p:cNvPr>
          <p:cNvSpPr/>
          <p:nvPr/>
        </p:nvSpPr>
        <p:spPr>
          <a:xfrm>
            <a:off x="1139995" y="1424731"/>
            <a:ext cx="3619698" cy="3516050"/>
          </a:xfrm>
          <a:custGeom>
            <a:avLst/>
            <a:gdLst/>
            <a:ahLst/>
            <a:cxnLst/>
            <a:rect l="l" t="t" r="r" b="b"/>
            <a:pathLst>
              <a:path w="76582" h="74389" extrusionOk="0">
                <a:moveTo>
                  <a:pt x="24033" y="0"/>
                </a:moveTo>
                <a:cubicBezTo>
                  <a:pt x="24008" y="0"/>
                  <a:pt x="23984" y="1"/>
                  <a:pt x="23960" y="1"/>
                </a:cubicBezTo>
                <a:cubicBezTo>
                  <a:pt x="23885" y="44"/>
                  <a:pt x="23826" y="91"/>
                  <a:pt x="23767" y="145"/>
                </a:cubicBezTo>
                <a:cubicBezTo>
                  <a:pt x="23757" y="140"/>
                  <a:pt x="23740" y="140"/>
                  <a:pt x="23729" y="135"/>
                </a:cubicBezTo>
                <a:cubicBezTo>
                  <a:pt x="23724" y="156"/>
                  <a:pt x="23724" y="178"/>
                  <a:pt x="23719" y="200"/>
                </a:cubicBezTo>
                <a:cubicBezTo>
                  <a:pt x="23251" y="747"/>
                  <a:pt x="23655" y="1698"/>
                  <a:pt x="23321" y="2268"/>
                </a:cubicBezTo>
                <a:cubicBezTo>
                  <a:pt x="23278" y="2880"/>
                  <a:pt x="23236" y="3492"/>
                  <a:pt x="23192" y="4105"/>
                </a:cubicBezTo>
                <a:cubicBezTo>
                  <a:pt x="23139" y="4846"/>
                  <a:pt x="23085" y="5588"/>
                  <a:pt x="23031" y="6324"/>
                </a:cubicBezTo>
                <a:lnTo>
                  <a:pt x="23031" y="6329"/>
                </a:lnTo>
                <a:cubicBezTo>
                  <a:pt x="22655" y="7968"/>
                  <a:pt x="22956" y="9686"/>
                  <a:pt x="22510" y="11320"/>
                </a:cubicBezTo>
                <a:cubicBezTo>
                  <a:pt x="22478" y="11744"/>
                  <a:pt x="22450" y="12163"/>
                  <a:pt x="22423" y="12587"/>
                </a:cubicBezTo>
                <a:cubicBezTo>
                  <a:pt x="22172" y="16262"/>
                  <a:pt x="21994" y="19942"/>
                  <a:pt x="21436" y="23596"/>
                </a:cubicBezTo>
                <a:lnTo>
                  <a:pt x="21436" y="25007"/>
                </a:lnTo>
                <a:cubicBezTo>
                  <a:pt x="21290" y="26598"/>
                  <a:pt x="21070" y="28188"/>
                  <a:pt x="21027" y="29784"/>
                </a:cubicBezTo>
                <a:cubicBezTo>
                  <a:pt x="21022" y="29966"/>
                  <a:pt x="21005" y="30117"/>
                  <a:pt x="20973" y="30241"/>
                </a:cubicBezTo>
                <a:cubicBezTo>
                  <a:pt x="20779" y="30531"/>
                  <a:pt x="20511" y="30719"/>
                  <a:pt x="20125" y="30821"/>
                </a:cubicBezTo>
                <a:cubicBezTo>
                  <a:pt x="20006" y="30821"/>
                  <a:pt x="19872" y="30809"/>
                  <a:pt x="19722" y="30799"/>
                </a:cubicBezTo>
                <a:cubicBezTo>
                  <a:pt x="14372" y="30256"/>
                  <a:pt x="9021" y="29757"/>
                  <a:pt x="3664" y="29274"/>
                </a:cubicBezTo>
                <a:cubicBezTo>
                  <a:pt x="3242" y="29236"/>
                  <a:pt x="2818" y="29226"/>
                  <a:pt x="2392" y="29226"/>
                </a:cubicBezTo>
                <a:cubicBezTo>
                  <a:pt x="1950" y="29226"/>
                  <a:pt x="1507" y="29237"/>
                  <a:pt x="1063" y="29237"/>
                </a:cubicBezTo>
                <a:cubicBezTo>
                  <a:pt x="1015" y="29237"/>
                  <a:pt x="967" y="29237"/>
                  <a:pt x="919" y="29236"/>
                </a:cubicBezTo>
                <a:cubicBezTo>
                  <a:pt x="817" y="29225"/>
                  <a:pt x="710" y="29214"/>
                  <a:pt x="623" y="29214"/>
                </a:cubicBezTo>
                <a:cubicBezTo>
                  <a:pt x="511" y="29214"/>
                  <a:pt x="435" y="29214"/>
                  <a:pt x="387" y="29321"/>
                </a:cubicBezTo>
                <a:cubicBezTo>
                  <a:pt x="306" y="29370"/>
                  <a:pt x="237" y="29440"/>
                  <a:pt x="194" y="29542"/>
                </a:cubicBezTo>
                <a:cubicBezTo>
                  <a:pt x="140" y="29681"/>
                  <a:pt x="194" y="29822"/>
                  <a:pt x="301" y="29907"/>
                </a:cubicBezTo>
                <a:cubicBezTo>
                  <a:pt x="247" y="30095"/>
                  <a:pt x="140" y="30246"/>
                  <a:pt x="1" y="30348"/>
                </a:cubicBezTo>
                <a:cubicBezTo>
                  <a:pt x="70" y="30397"/>
                  <a:pt x="145" y="30444"/>
                  <a:pt x="231" y="30477"/>
                </a:cubicBezTo>
                <a:cubicBezTo>
                  <a:pt x="678" y="30633"/>
                  <a:pt x="892" y="30982"/>
                  <a:pt x="1204" y="31540"/>
                </a:cubicBezTo>
                <a:cubicBezTo>
                  <a:pt x="1382" y="31858"/>
                  <a:pt x="1563" y="32185"/>
                  <a:pt x="1838" y="32475"/>
                </a:cubicBezTo>
                <a:cubicBezTo>
                  <a:pt x="2461" y="33142"/>
                  <a:pt x="3058" y="33861"/>
                  <a:pt x="3643" y="34555"/>
                </a:cubicBezTo>
                <a:cubicBezTo>
                  <a:pt x="4985" y="36160"/>
                  <a:pt x="6378" y="37821"/>
                  <a:pt x="8193" y="39067"/>
                </a:cubicBezTo>
                <a:cubicBezTo>
                  <a:pt x="8843" y="39512"/>
                  <a:pt x="9047" y="40216"/>
                  <a:pt x="9289" y="41027"/>
                </a:cubicBezTo>
                <a:cubicBezTo>
                  <a:pt x="9455" y="41587"/>
                  <a:pt x="9622" y="42172"/>
                  <a:pt x="9961" y="42693"/>
                </a:cubicBezTo>
                <a:cubicBezTo>
                  <a:pt x="9949" y="42736"/>
                  <a:pt x="9934" y="42779"/>
                  <a:pt x="9923" y="42812"/>
                </a:cubicBezTo>
                <a:lnTo>
                  <a:pt x="9901" y="42876"/>
                </a:lnTo>
                <a:cubicBezTo>
                  <a:pt x="9472" y="44235"/>
                  <a:pt x="9929" y="45567"/>
                  <a:pt x="11201" y="46636"/>
                </a:cubicBezTo>
                <a:cubicBezTo>
                  <a:pt x="13517" y="48587"/>
                  <a:pt x="15510" y="50000"/>
                  <a:pt x="17476" y="51079"/>
                </a:cubicBezTo>
                <a:cubicBezTo>
                  <a:pt x="17868" y="51294"/>
                  <a:pt x="18228" y="51401"/>
                  <a:pt x="18588" y="51401"/>
                </a:cubicBezTo>
                <a:cubicBezTo>
                  <a:pt x="19110" y="51401"/>
                  <a:pt x="19604" y="51170"/>
                  <a:pt x="20109" y="50704"/>
                </a:cubicBezTo>
                <a:cubicBezTo>
                  <a:pt x="20801" y="50064"/>
                  <a:pt x="21097" y="49291"/>
                  <a:pt x="21387" y="48549"/>
                </a:cubicBezTo>
                <a:cubicBezTo>
                  <a:pt x="21511" y="48232"/>
                  <a:pt x="21624" y="47937"/>
                  <a:pt x="21768" y="47657"/>
                </a:cubicBezTo>
                <a:cubicBezTo>
                  <a:pt x="21838" y="47518"/>
                  <a:pt x="21892" y="47372"/>
                  <a:pt x="21946" y="47233"/>
                </a:cubicBezTo>
                <a:cubicBezTo>
                  <a:pt x="22037" y="47007"/>
                  <a:pt x="22101" y="46868"/>
                  <a:pt x="22160" y="46776"/>
                </a:cubicBezTo>
                <a:cubicBezTo>
                  <a:pt x="22359" y="46717"/>
                  <a:pt x="22559" y="46668"/>
                  <a:pt x="22757" y="46631"/>
                </a:cubicBezTo>
                <a:cubicBezTo>
                  <a:pt x="22956" y="46631"/>
                  <a:pt x="23133" y="46598"/>
                  <a:pt x="23300" y="46551"/>
                </a:cubicBezTo>
                <a:cubicBezTo>
                  <a:pt x="23519" y="46528"/>
                  <a:pt x="23736" y="46516"/>
                  <a:pt x="23952" y="46516"/>
                </a:cubicBezTo>
                <a:cubicBezTo>
                  <a:pt x="28004" y="46516"/>
                  <a:pt x="31442" y="50471"/>
                  <a:pt x="33432" y="53776"/>
                </a:cubicBezTo>
                <a:cubicBezTo>
                  <a:pt x="33925" y="54592"/>
                  <a:pt x="34495" y="55306"/>
                  <a:pt x="35086" y="55990"/>
                </a:cubicBezTo>
                <a:cubicBezTo>
                  <a:pt x="35968" y="57627"/>
                  <a:pt x="37042" y="59149"/>
                  <a:pt x="38105" y="60631"/>
                </a:cubicBezTo>
                <a:lnTo>
                  <a:pt x="38396" y="61039"/>
                </a:lnTo>
                <a:cubicBezTo>
                  <a:pt x="38514" y="61205"/>
                  <a:pt x="38669" y="61410"/>
                  <a:pt x="38869" y="61560"/>
                </a:cubicBezTo>
                <a:cubicBezTo>
                  <a:pt x="38981" y="61936"/>
                  <a:pt x="39100" y="62301"/>
                  <a:pt x="39256" y="62630"/>
                </a:cubicBezTo>
                <a:cubicBezTo>
                  <a:pt x="39519" y="63193"/>
                  <a:pt x="39819" y="63731"/>
                  <a:pt x="40131" y="64262"/>
                </a:cubicBezTo>
                <a:cubicBezTo>
                  <a:pt x="40635" y="66357"/>
                  <a:pt x="41533" y="68162"/>
                  <a:pt x="42311" y="69560"/>
                </a:cubicBezTo>
                <a:lnTo>
                  <a:pt x="42355" y="69635"/>
                </a:lnTo>
                <a:cubicBezTo>
                  <a:pt x="42494" y="69893"/>
                  <a:pt x="42683" y="70237"/>
                  <a:pt x="43112" y="70386"/>
                </a:cubicBezTo>
                <a:cubicBezTo>
                  <a:pt x="43945" y="70677"/>
                  <a:pt x="44724" y="71085"/>
                  <a:pt x="45546" y="71515"/>
                </a:cubicBezTo>
                <a:cubicBezTo>
                  <a:pt x="46824" y="72181"/>
                  <a:pt x="48145" y="72868"/>
                  <a:pt x="49688" y="73089"/>
                </a:cubicBezTo>
                <a:cubicBezTo>
                  <a:pt x="50756" y="73245"/>
                  <a:pt x="51633" y="73411"/>
                  <a:pt x="52342" y="74046"/>
                </a:cubicBezTo>
                <a:cubicBezTo>
                  <a:pt x="52600" y="74276"/>
                  <a:pt x="52852" y="74388"/>
                  <a:pt x="53104" y="74388"/>
                </a:cubicBezTo>
                <a:cubicBezTo>
                  <a:pt x="53599" y="74388"/>
                  <a:pt x="53851" y="73981"/>
                  <a:pt x="54002" y="73739"/>
                </a:cubicBezTo>
                <a:cubicBezTo>
                  <a:pt x="54039" y="73674"/>
                  <a:pt x="54093" y="73589"/>
                  <a:pt x="54131" y="73545"/>
                </a:cubicBezTo>
                <a:cubicBezTo>
                  <a:pt x="54592" y="73443"/>
                  <a:pt x="54748" y="73191"/>
                  <a:pt x="54802" y="72992"/>
                </a:cubicBezTo>
                <a:cubicBezTo>
                  <a:pt x="54921" y="72541"/>
                  <a:pt x="54555" y="72208"/>
                  <a:pt x="54373" y="72052"/>
                </a:cubicBezTo>
                <a:cubicBezTo>
                  <a:pt x="53835" y="71306"/>
                  <a:pt x="53664" y="70413"/>
                  <a:pt x="53481" y="69463"/>
                </a:cubicBezTo>
                <a:cubicBezTo>
                  <a:pt x="53384" y="68936"/>
                  <a:pt x="53271" y="68400"/>
                  <a:pt x="53104" y="67872"/>
                </a:cubicBezTo>
                <a:cubicBezTo>
                  <a:pt x="53201" y="67577"/>
                  <a:pt x="53277" y="67249"/>
                  <a:pt x="53303" y="66900"/>
                </a:cubicBezTo>
                <a:cubicBezTo>
                  <a:pt x="53481" y="64686"/>
                  <a:pt x="54942" y="62146"/>
                  <a:pt x="55774" y="60121"/>
                </a:cubicBezTo>
                <a:cubicBezTo>
                  <a:pt x="56779" y="57692"/>
                  <a:pt x="59492" y="57337"/>
                  <a:pt x="61184" y="55651"/>
                </a:cubicBezTo>
                <a:cubicBezTo>
                  <a:pt x="61227" y="55629"/>
                  <a:pt x="61271" y="55608"/>
                  <a:pt x="61297" y="55597"/>
                </a:cubicBezTo>
                <a:cubicBezTo>
                  <a:pt x="63011" y="55016"/>
                  <a:pt x="64778" y="54416"/>
                  <a:pt x="66057" y="53099"/>
                </a:cubicBezTo>
                <a:cubicBezTo>
                  <a:pt x="66272" y="52879"/>
                  <a:pt x="66535" y="52663"/>
                  <a:pt x="66820" y="52433"/>
                </a:cubicBezTo>
                <a:cubicBezTo>
                  <a:pt x="67819" y="51627"/>
                  <a:pt x="69183" y="50526"/>
                  <a:pt x="68447" y="48425"/>
                </a:cubicBezTo>
                <a:cubicBezTo>
                  <a:pt x="68427" y="48361"/>
                  <a:pt x="68427" y="48329"/>
                  <a:pt x="68420" y="48329"/>
                </a:cubicBezTo>
                <a:cubicBezTo>
                  <a:pt x="68469" y="48264"/>
                  <a:pt x="68710" y="48168"/>
                  <a:pt x="68839" y="48113"/>
                </a:cubicBezTo>
                <a:cubicBezTo>
                  <a:pt x="68893" y="48093"/>
                  <a:pt x="68942" y="48071"/>
                  <a:pt x="68995" y="48049"/>
                </a:cubicBezTo>
                <a:cubicBezTo>
                  <a:pt x="69119" y="49204"/>
                  <a:pt x="69942" y="49301"/>
                  <a:pt x="70205" y="49301"/>
                </a:cubicBezTo>
                <a:cubicBezTo>
                  <a:pt x="70683" y="49301"/>
                  <a:pt x="71160" y="49060"/>
                  <a:pt x="71418" y="48931"/>
                </a:cubicBezTo>
                <a:cubicBezTo>
                  <a:pt x="72198" y="48538"/>
                  <a:pt x="73057" y="48254"/>
                  <a:pt x="74207" y="48006"/>
                </a:cubicBezTo>
                <a:cubicBezTo>
                  <a:pt x="74266" y="47996"/>
                  <a:pt x="74325" y="47969"/>
                  <a:pt x="74378" y="47937"/>
                </a:cubicBezTo>
                <a:cubicBezTo>
                  <a:pt x="74454" y="47883"/>
                  <a:pt x="74459" y="47409"/>
                  <a:pt x="74459" y="47409"/>
                </a:cubicBezTo>
                <a:cubicBezTo>
                  <a:pt x="74797" y="46776"/>
                  <a:pt x="75152" y="46152"/>
                  <a:pt x="75377" y="45470"/>
                </a:cubicBezTo>
                <a:cubicBezTo>
                  <a:pt x="75700" y="44483"/>
                  <a:pt x="75598" y="43322"/>
                  <a:pt x="75640" y="42296"/>
                </a:cubicBezTo>
                <a:cubicBezTo>
                  <a:pt x="75667" y="41543"/>
                  <a:pt x="76071" y="40883"/>
                  <a:pt x="76248" y="40157"/>
                </a:cubicBezTo>
                <a:cubicBezTo>
                  <a:pt x="76582" y="39271"/>
                  <a:pt x="76527" y="38391"/>
                  <a:pt x="76087" y="37573"/>
                </a:cubicBezTo>
                <a:cubicBezTo>
                  <a:pt x="76044" y="37412"/>
                  <a:pt x="75995" y="37256"/>
                  <a:pt x="75947" y="37101"/>
                </a:cubicBezTo>
                <a:cubicBezTo>
                  <a:pt x="75952" y="37010"/>
                  <a:pt x="75925" y="36928"/>
                  <a:pt x="75866" y="36864"/>
                </a:cubicBezTo>
                <a:cubicBezTo>
                  <a:pt x="75845" y="36794"/>
                  <a:pt x="75818" y="36725"/>
                  <a:pt x="75796" y="36655"/>
                </a:cubicBezTo>
                <a:cubicBezTo>
                  <a:pt x="75754" y="36542"/>
                  <a:pt x="75711" y="36435"/>
                  <a:pt x="75667" y="36328"/>
                </a:cubicBezTo>
                <a:cubicBezTo>
                  <a:pt x="75711" y="36075"/>
                  <a:pt x="75759" y="35827"/>
                  <a:pt x="75410" y="35688"/>
                </a:cubicBezTo>
                <a:lnTo>
                  <a:pt x="75410" y="35688"/>
                </a:lnTo>
                <a:cubicBezTo>
                  <a:pt x="75415" y="35720"/>
                  <a:pt x="75421" y="35753"/>
                  <a:pt x="75421" y="35790"/>
                </a:cubicBezTo>
                <a:cubicBezTo>
                  <a:pt x="75394" y="35731"/>
                  <a:pt x="75367" y="35677"/>
                  <a:pt x="75340" y="35624"/>
                </a:cubicBezTo>
                <a:lnTo>
                  <a:pt x="75340" y="35624"/>
                </a:lnTo>
                <a:cubicBezTo>
                  <a:pt x="75357" y="35629"/>
                  <a:pt x="75367" y="35634"/>
                  <a:pt x="75383" y="35639"/>
                </a:cubicBezTo>
                <a:cubicBezTo>
                  <a:pt x="75464" y="35393"/>
                  <a:pt x="75383" y="35220"/>
                  <a:pt x="75131" y="35123"/>
                </a:cubicBezTo>
                <a:cubicBezTo>
                  <a:pt x="75125" y="35135"/>
                  <a:pt x="75120" y="35145"/>
                  <a:pt x="75114" y="35156"/>
                </a:cubicBezTo>
                <a:cubicBezTo>
                  <a:pt x="75109" y="35145"/>
                  <a:pt x="75104" y="35135"/>
                  <a:pt x="75099" y="35129"/>
                </a:cubicBezTo>
                <a:cubicBezTo>
                  <a:pt x="75104" y="35123"/>
                  <a:pt x="75109" y="35118"/>
                  <a:pt x="75114" y="35118"/>
                </a:cubicBezTo>
                <a:cubicBezTo>
                  <a:pt x="75104" y="35103"/>
                  <a:pt x="75087" y="35091"/>
                  <a:pt x="75077" y="35081"/>
                </a:cubicBezTo>
                <a:cubicBezTo>
                  <a:pt x="74867" y="34645"/>
                  <a:pt x="74673" y="34211"/>
                  <a:pt x="74551" y="33732"/>
                </a:cubicBezTo>
                <a:cubicBezTo>
                  <a:pt x="74319" y="32846"/>
                  <a:pt x="73847" y="32061"/>
                  <a:pt x="73659" y="31159"/>
                </a:cubicBezTo>
                <a:cubicBezTo>
                  <a:pt x="73552" y="30655"/>
                  <a:pt x="73481" y="30144"/>
                  <a:pt x="73423" y="29628"/>
                </a:cubicBezTo>
                <a:cubicBezTo>
                  <a:pt x="73379" y="28371"/>
                  <a:pt x="73036" y="26259"/>
                  <a:pt x="72965" y="25002"/>
                </a:cubicBezTo>
                <a:cubicBezTo>
                  <a:pt x="72959" y="24888"/>
                  <a:pt x="72982" y="24848"/>
                  <a:pt x="73021" y="24848"/>
                </a:cubicBezTo>
                <a:cubicBezTo>
                  <a:pt x="73114" y="24848"/>
                  <a:pt x="73301" y="25065"/>
                  <a:pt x="73454" y="25065"/>
                </a:cubicBezTo>
                <a:cubicBezTo>
                  <a:pt x="73479" y="25065"/>
                  <a:pt x="73502" y="25059"/>
                  <a:pt x="73525" y="25046"/>
                </a:cubicBezTo>
                <a:lnTo>
                  <a:pt x="73525" y="25019"/>
                </a:lnTo>
                <a:lnTo>
                  <a:pt x="73525" y="24992"/>
                </a:lnTo>
                <a:cubicBezTo>
                  <a:pt x="73277" y="24878"/>
                  <a:pt x="73111" y="24712"/>
                  <a:pt x="72992" y="24487"/>
                </a:cubicBezTo>
                <a:lnTo>
                  <a:pt x="72992" y="23197"/>
                </a:lnTo>
                <a:cubicBezTo>
                  <a:pt x="72992" y="22795"/>
                  <a:pt x="72923" y="22381"/>
                  <a:pt x="73014" y="21999"/>
                </a:cubicBezTo>
                <a:cubicBezTo>
                  <a:pt x="73057" y="21816"/>
                  <a:pt x="73004" y="21597"/>
                  <a:pt x="72939" y="21409"/>
                </a:cubicBezTo>
                <a:cubicBezTo>
                  <a:pt x="72213" y="20791"/>
                  <a:pt x="71224" y="20613"/>
                  <a:pt x="70285" y="20581"/>
                </a:cubicBezTo>
                <a:cubicBezTo>
                  <a:pt x="70252" y="20619"/>
                  <a:pt x="70199" y="20646"/>
                  <a:pt x="70113" y="20662"/>
                </a:cubicBezTo>
                <a:cubicBezTo>
                  <a:pt x="70089" y="20665"/>
                  <a:pt x="70066" y="20666"/>
                  <a:pt x="70043" y="20666"/>
                </a:cubicBezTo>
                <a:cubicBezTo>
                  <a:pt x="70020" y="20666"/>
                  <a:pt x="69998" y="20665"/>
                  <a:pt x="69974" y="20662"/>
                </a:cubicBezTo>
                <a:cubicBezTo>
                  <a:pt x="69806" y="20651"/>
                  <a:pt x="69667" y="20566"/>
                  <a:pt x="69592" y="20405"/>
                </a:cubicBezTo>
                <a:cubicBezTo>
                  <a:pt x="69329" y="20296"/>
                  <a:pt x="69097" y="20125"/>
                  <a:pt x="68846" y="19974"/>
                </a:cubicBezTo>
                <a:cubicBezTo>
                  <a:pt x="68834" y="19974"/>
                  <a:pt x="68824" y="19964"/>
                  <a:pt x="68819" y="19964"/>
                </a:cubicBezTo>
                <a:cubicBezTo>
                  <a:pt x="68496" y="19850"/>
                  <a:pt x="68189" y="19684"/>
                  <a:pt x="67879" y="19528"/>
                </a:cubicBezTo>
                <a:cubicBezTo>
                  <a:pt x="67599" y="19421"/>
                  <a:pt x="67314" y="19329"/>
                  <a:pt x="67024" y="19249"/>
                </a:cubicBezTo>
                <a:cubicBezTo>
                  <a:pt x="66965" y="19233"/>
                  <a:pt x="66932" y="19185"/>
                  <a:pt x="66927" y="19136"/>
                </a:cubicBezTo>
                <a:cubicBezTo>
                  <a:pt x="66756" y="19092"/>
                  <a:pt x="66582" y="19066"/>
                  <a:pt x="66402" y="19066"/>
                </a:cubicBezTo>
                <a:cubicBezTo>
                  <a:pt x="66096" y="19066"/>
                  <a:pt x="65774" y="19142"/>
                  <a:pt x="65429" y="19334"/>
                </a:cubicBezTo>
                <a:cubicBezTo>
                  <a:pt x="65369" y="19370"/>
                  <a:pt x="65281" y="19392"/>
                  <a:pt x="65182" y="19392"/>
                </a:cubicBezTo>
                <a:cubicBezTo>
                  <a:pt x="65147" y="19392"/>
                  <a:pt x="65111" y="19389"/>
                  <a:pt x="65074" y="19383"/>
                </a:cubicBezTo>
                <a:cubicBezTo>
                  <a:pt x="64418" y="19475"/>
                  <a:pt x="63779" y="19431"/>
                  <a:pt x="63113" y="19517"/>
                </a:cubicBezTo>
                <a:cubicBezTo>
                  <a:pt x="63044" y="19528"/>
                  <a:pt x="62973" y="19539"/>
                  <a:pt x="62908" y="19545"/>
                </a:cubicBezTo>
                <a:cubicBezTo>
                  <a:pt x="62732" y="19604"/>
                  <a:pt x="62549" y="19624"/>
                  <a:pt x="62360" y="19631"/>
                </a:cubicBezTo>
                <a:cubicBezTo>
                  <a:pt x="61861" y="19716"/>
                  <a:pt x="61356" y="19829"/>
                  <a:pt x="60884" y="19969"/>
                </a:cubicBezTo>
                <a:cubicBezTo>
                  <a:pt x="60734" y="20089"/>
                  <a:pt x="60570" y="20175"/>
                  <a:pt x="60363" y="20175"/>
                </a:cubicBezTo>
                <a:cubicBezTo>
                  <a:pt x="60310" y="20175"/>
                  <a:pt x="60255" y="20169"/>
                  <a:pt x="60196" y="20157"/>
                </a:cubicBezTo>
                <a:cubicBezTo>
                  <a:pt x="60201" y="20157"/>
                  <a:pt x="60201" y="20157"/>
                  <a:pt x="60201" y="20152"/>
                </a:cubicBezTo>
                <a:lnTo>
                  <a:pt x="60201" y="20152"/>
                </a:lnTo>
                <a:cubicBezTo>
                  <a:pt x="60122" y="20165"/>
                  <a:pt x="60045" y="20171"/>
                  <a:pt x="59968" y="20171"/>
                </a:cubicBezTo>
                <a:cubicBezTo>
                  <a:pt x="59794" y="20171"/>
                  <a:pt x="59625" y="20138"/>
                  <a:pt x="59449" y="20071"/>
                </a:cubicBezTo>
                <a:cubicBezTo>
                  <a:pt x="59191" y="19996"/>
                  <a:pt x="58944" y="19882"/>
                  <a:pt x="58703" y="19753"/>
                </a:cubicBezTo>
                <a:cubicBezTo>
                  <a:pt x="58407" y="19673"/>
                  <a:pt x="58122" y="19668"/>
                  <a:pt x="57768" y="19663"/>
                </a:cubicBezTo>
                <a:cubicBezTo>
                  <a:pt x="57719" y="19663"/>
                  <a:pt x="57676" y="19663"/>
                  <a:pt x="57634" y="19657"/>
                </a:cubicBezTo>
                <a:cubicBezTo>
                  <a:pt x="57591" y="19669"/>
                  <a:pt x="57549" y="19675"/>
                  <a:pt x="57506" y="19675"/>
                </a:cubicBezTo>
                <a:cubicBezTo>
                  <a:pt x="57415" y="19675"/>
                  <a:pt x="57323" y="19646"/>
                  <a:pt x="57235" y="19587"/>
                </a:cubicBezTo>
                <a:cubicBezTo>
                  <a:pt x="57188" y="19572"/>
                  <a:pt x="57133" y="19555"/>
                  <a:pt x="57086" y="19534"/>
                </a:cubicBezTo>
                <a:cubicBezTo>
                  <a:pt x="56889" y="19452"/>
                  <a:pt x="56566" y="19322"/>
                  <a:pt x="56295" y="19322"/>
                </a:cubicBezTo>
                <a:cubicBezTo>
                  <a:pt x="56248" y="19322"/>
                  <a:pt x="56204" y="19326"/>
                  <a:pt x="56161" y="19334"/>
                </a:cubicBezTo>
                <a:cubicBezTo>
                  <a:pt x="56086" y="19431"/>
                  <a:pt x="56005" y="19539"/>
                  <a:pt x="55925" y="19614"/>
                </a:cubicBezTo>
                <a:cubicBezTo>
                  <a:pt x="55920" y="19577"/>
                  <a:pt x="55914" y="19545"/>
                  <a:pt x="55914" y="19507"/>
                </a:cubicBezTo>
                <a:cubicBezTo>
                  <a:pt x="55893" y="19545"/>
                  <a:pt x="55876" y="19577"/>
                  <a:pt x="55866" y="19619"/>
                </a:cubicBezTo>
                <a:cubicBezTo>
                  <a:pt x="55861" y="19636"/>
                  <a:pt x="55856" y="19646"/>
                  <a:pt x="55856" y="19657"/>
                </a:cubicBezTo>
                <a:cubicBezTo>
                  <a:pt x="55871" y="19652"/>
                  <a:pt x="55888" y="19652"/>
                  <a:pt x="55903" y="19652"/>
                </a:cubicBezTo>
                <a:cubicBezTo>
                  <a:pt x="55920" y="19867"/>
                  <a:pt x="55876" y="20028"/>
                  <a:pt x="55791" y="20152"/>
                </a:cubicBezTo>
                <a:cubicBezTo>
                  <a:pt x="55753" y="20179"/>
                  <a:pt x="55710" y="20200"/>
                  <a:pt x="55667" y="20221"/>
                </a:cubicBezTo>
                <a:cubicBezTo>
                  <a:pt x="55603" y="20248"/>
                  <a:pt x="55533" y="20264"/>
                  <a:pt x="55462" y="20264"/>
                </a:cubicBezTo>
                <a:cubicBezTo>
                  <a:pt x="55393" y="20264"/>
                  <a:pt x="55323" y="20248"/>
                  <a:pt x="55259" y="20221"/>
                </a:cubicBezTo>
                <a:cubicBezTo>
                  <a:pt x="55205" y="20200"/>
                  <a:pt x="55162" y="20167"/>
                  <a:pt x="55119" y="20135"/>
                </a:cubicBezTo>
                <a:cubicBezTo>
                  <a:pt x="55103" y="20043"/>
                  <a:pt x="55108" y="19942"/>
                  <a:pt x="55114" y="19840"/>
                </a:cubicBezTo>
                <a:cubicBezTo>
                  <a:pt x="54889" y="19528"/>
                  <a:pt x="54716" y="19260"/>
                  <a:pt x="54276" y="19205"/>
                </a:cubicBezTo>
                <a:cubicBezTo>
                  <a:pt x="54044" y="19185"/>
                  <a:pt x="53846" y="19115"/>
                  <a:pt x="53632" y="19024"/>
                </a:cubicBezTo>
                <a:cubicBezTo>
                  <a:pt x="53369" y="18907"/>
                  <a:pt x="53140" y="18815"/>
                  <a:pt x="52929" y="18815"/>
                </a:cubicBezTo>
                <a:cubicBezTo>
                  <a:pt x="52713" y="18815"/>
                  <a:pt x="52516" y="18912"/>
                  <a:pt x="52325" y="19180"/>
                </a:cubicBezTo>
                <a:cubicBezTo>
                  <a:pt x="52229" y="19314"/>
                  <a:pt x="52100" y="19394"/>
                  <a:pt x="51961" y="19470"/>
                </a:cubicBezTo>
                <a:cubicBezTo>
                  <a:pt x="51861" y="19544"/>
                  <a:pt x="51746" y="19595"/>
                  <a:pt x="51588" y="19595"/>
                </a:cubicBezTo>
                <a:cubicBezTo>
                  <a:pt x="51566" y="19595"/>
                  <a:pt x="51543" y="19594"/>
                  <a:pt x="51520" y="19592"/>
                </a:cubicBezTo>
                <a:cubicBezTo>
                  <a:pt x="51026" y="19545"/>
                  <a:pt x="50865" y="19222"/>
                  <a:pt x="50756" y="18857"/>
                </a:cubicBezTo>
                <a:cubicBezTo>
                  <a:pt x="50607" y="18669"/>
                  <a:pt x="50451" y="18496"/>
                  <a:pt x="50273" y="18342"/>
                </a:cubicBezTo>
                <a:cubicBezTo>
                  <a:pt x="50225" y="18320"/>
                  <a:pt x="50188" y="18287"/>
                  <a:pt x="50156" y="18238"/>
                </a:cubicBezTo>
                <a:cubicBezTo>
                  <a:pt x="50032" y="18142"/>
                  <a:pt x="49893" y="18057"/>
                  <a:pt x="49737" y="17975"/>
                </a:cubicBezTo>
                <a:cubicBezTo>
                  <a:pt x="48194" y="17192"/>
                  <a:pt x="46340" y="16949"/>
                  <a:pt x="44681" y="16504"/>
                </a:cubicBezTo>
                <a:cubicBezTo>
                  <a:pt x="43252" y="16118"/>
                  <a:pt x="41619" y="15811"/>
                  <a:pt x="40394" y="14940"/>
                </a:cubicBezTo>
                <a:cubicBezTo>
                  <a:pt x="39975" y="14645"/>
                  <a:pt x="39690" y="14312"/>
                  <a:pt x="39513" y="13941"/>
                </a:cubicBezTo>
                <a:cubicBezTo>
                  <a:pt x="39308" y="13770"/>
                  <a:pt x="39293" y="13554"/>
                  <a:pt x="39314" y="13334"/>
                </a:cubicBezTo>
                <a:cubicBezTo>
                  <a:pt x="39228" y="12850"/>
                  <a:pt x="39271" y="12319"/>
                  <a:pt x="39405" y="11754"/>
                </a:cubicBezTo>
                <a:lnTo>
                  <a:pt x="39410" y="11749"/>
                </a:lnTo>
                <a:cubicBezTo>
                  <a:pt x="39470" y="9213"/>
                  <a:pt x="39556" y="6673"/>
                  <a:pt x="39636" y="4137"/>
                </a:cubicBezTo>
                <a:cubicBezTo>
                  <a:pt x="39648" y="3906"/>
                  <a:pt x="39653" y="3681"/>
                  <a:pt x="39663" y="3455"/>
                </a:cubicBezTo>
                <a:cubicBezTo>
                  <a:pt x="40061" y="1080"/>
                  <a:pt x="40061" y="1058"/>
                  <a:pt x="37708" y="887"/>
                </a:cubicBezTo>
                <a:cubicBezTo>
                  <a:pt x="33705" y="597"/>
                  <a:pt x="29698" y="328"/>
                  <a:pt x="25475" y="33"/>
                </a:cubicBezTo>
                <a:cubicBezTo>
                  <a:pt x="25391" y="38"/>
                  <a:pt x="25307" y="39"/>
                  <a:pt x="25222" y="39"/>
                </a:cubicBezTo>
                <a:cubicBezTo>
                  <a:pt x="24828" y="39"/>
                  <a:pt x="24426" y="0"/>
                  <a:pt x="24033" y="0"/>
                </a:cubicBezTo>
                <a:close/>
              </a:path>
            </a:pathLst>
          </a:custGeom>
          <a:noFill/>
          <a:ln w="19050" cap="flat" cmpd="sng">
            <a:solidFill>
              <a:srgbClr val="F2675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rgbClr val="3B4DA5"/>
              </a:solidFill>
              <a:latin typeface="Segoe UI" panose="020B0502040204020203" pitchFamily="34" charset="0"/>
            </a:endParaRPr>
          </a:p>
        </p:txBody>
      </p:sp>
      <p:pic>
        <p:nvPicPr>
          <p:cNvPr id="25" name="Picture 24" descr="Map&#10;&#10;Description automatically generated">
            <a:extLst>
              <a:ext uri="{FF2B5EF4-FFF2-40B4-BE49-F238E27FC236}">
                <a16:creationId xmlns:a16="http://schemas.microsoft.com/office/drawing/2014/main" id="{A58D5080-648B-9649-96EA-1B5E1A7629B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27114" y="1202450"/>
            <a:ext cx="3932579" cy="3929886"/>
          </a:xfrm>
          <a:prstGeom prst="rect">
            <a:avLst/>
          </a:prstGeom>
        </p:spPr>
      </p:pic>
      <p:sp>
        <p:nvSpPr>
          <p:cNvPr id="7" name="Oval 6">
            <a:extLst>
              <a:ext uri="{FF2B5EF4-FFF2-40B4-BE49-F238E27FC236}">
                <a16:creationId xmlns:a16="http://schemas.microsoft.com/office/drawing/2014/main" id="{82F58D08-8ED8-ED40-B368-838911625273}"/>
              </a:ext>
            </a:extLst>
          </p:cNvPr>
          <p:cNvSpPr/>
          <p:nvPr/>
        </p:nvSpPr>
        <p:spPr>
          <a:xfrm>
            <a:off x="1174237" y="1355398"/>
            <a:ext cx="3756833" cy="3756833"/>
          </a:xfrm>
          <a:prstGeom prst="ellipse">
            <a:avLst/>
          </a:prstGeom>
          <a:noFill/>
          <a:ln w="12700" cap="flat" cmpd="sng">
            <a:solidFill>
              <a:schemeClr val="bg1"/>
            </a:solidFill>
            <a:prstDash val="sysDot"/>
            <a:round/>
            <a:headEnd type="none" w="sm" len="sm"/>
            <a:tailEnd type="none" w="sm" len="sm"/>
          </a:ln>
        </p:spPr>
        <p:txBody>
          <a:bodyPr spcFirstLastPara="1" wrap="square" lIns="91425" tIns="91425" rIns="91425" bIns="91425" rtlCol="0" anchor="ctr" anchorCtr="0">
            <a:noAutofit/>
          </a:bodyPr>
          <a:lstStyle/>
          <a:p>
            <a:pPr marL="0" indent="0" algn="l" rtl="0">
              <a:spcBef>
                <a:spcPts val="0"/>
              </a:spcBef>
              <a:spcAft>
                <a:spcPts val="0"/>
              </a:spcAft>
              <a:buNone/>
            </a:pPr>
            <a:endParaRPr lang="en-US" dirty="0">
              <a:solidFill>
                <a:srgbClr val="3B4DA5"/>
              </a:solidFill>
              <a:latin typeface="Segoe UI" panose="020B0502040204020203" pitchFamily="34" charset="0"/>
            </a:endParaRPr>
          </a:p>
        </p:txBody>
      </p:sp>
      <p:sp>
        <p:nvSpPr>
          <p:cNvPr id="3" name="Title 6">
            <a:extLst>
              <a:ext uri="{FF2B5EF4-FFF2-40B4-BE49-F238E27FC236}">
                <a16:creationId xmlns:a16="http://schemas.microsoft.com/office/drawing/2014/main" id="{28013EB5-3A5B-1476-AEAB-A1F1A8D4C799}"/>
              </a:ext>
            </a:extLst>
          </p:cNvPr>
          <p:cNvSpPr txBox="1">
            <a:spLocks/>
          </p:cNvSpPr>
          <p:nvPr/>
        </p:nvSpPr>
        <p:spPr>
          <a:xfrm>
            <a:off x="5485076" y="1513161"/>
            <a:ext cx="6171118" cy="3427620"/>
          </a:xfrm>
          <a:prstGeom prst="rect">
            <a:avLst/>
          </a:prstGeom>
        </p:spPr>
        <p:txBody>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endParaRPr lang="en-US" sz="2800" i="1" dirty="0">
              <a:solidFill>
                <a:srgbClr val="FFFFFF"/>
              </a:solidFill>
            </a:endParaRPr>
          </a:p>
          <a:p>
            <a:r>
              <a:rPr lang="en-US" sz="2800" b="0" dirty="0">
                <a:solidFill>
                  <a:srgbClr val="FFFFFF"/>
                </a:solidFill>
              </a:rPr>
              <a:t>In working to improve schools, we are trying to move a large and complex enterprise to greater productivity over time.  </a:t>
            </a:r>
          </a:p>
          <a:p>
            <a:endParaRPr lang="en-US" sz="2800" b="0" dirty="0">
              <a:solidFill>
                <a:srgbClr val="FFFFFF"/>
              </a:solidFill>
            </a:endParaRPr>
          </a:p>
          <a:p>
            <a:r>
              <a:rPr lang="en-US" sz="2800" dirty="0">
                <a:solidFill>
                  <a:srgbClr val="FFFFFF"/>
                </a:solidFill>
              </a:rPr>
              <a:t>It is probably one of the hardest things that government does. </a:t>
            </a:r>
            <a:endParaRPr lang="en-US" sz="2800" b="0" dirty="0">
              <a:solidFill>
                <a:srgbClr val="FFFFFF"/>
              </a:solidFill>
            </a:endParaRPr>
          </a:p>
          <a:p>
            <a:endParaRPr lang="en-US" sz="2800" i="1" dirty="0">
              <a:solidFill>
                <a:srgbClr val="FFFFFF"/>
              </a:solidFill>
            </a:endParaRPr>
          </a:p>
        </p:txBody>
      </p:sp>
    </p:spTree>
    <p:extLst>
      <p:ext uri="{BB962C8B-B14F-4D97-AF65-F5344CB8AC3E}">
        <p14:creationId xmlns:p14="http://schemas.microsoft.com/office/powerpoint/2010/main" val="2443095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B7F4EBDE-FD5F-FB52-D15C-9E27B84763BF}"/>
              </a:ext>
            </a:extLst>
          </p:cNvPr>
          <p:cNvCxnSpPr>
            <a:cxnSpLocks/>
            <a:stCxn id="22" idx="2"/>
            <a:endCxn id="31" idx="0"/>
          </p:cNvCxnSpPr>
          <p:nvPr/>
        </p:nvCxnSpPr>
        <p:spPr>
          <a:xfrm>
            <a:off x="5942634" y="2202037"/>
            <a:ext cx="0" cy="3216656"/>
          </a:xfrm>
          <a:prstGeom prst="line">
            <a:avLst/>
          </a:prstGeom>
          <a:ln w="12700">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A6779B6-873C-1226-E05B-3DA42AE9F062}"/>
              </a:ext>
            </a:extLst>
          </p:cNvPr>
          <p:cNvSpPr txBox="1"/>
          <p:nvPr/>
        </p:nvSpPr>
        <p:spPr>
          <a:xfrm>
            <a:off x="5371133" y="1925038"/>
            <a:ext cx="1143001" cy="276999"/>
          </a:xfrm>
          <a:prstGeom prst="rect">
            <a:avLst/>
          </a:prstGeom>
          <a:noFill/>
        </p:spPr>
        <p:txBody>
          <a:bodyPr wrap="square">
            <a:spAutoFit/>
          </a:bodyPr>
          <a:lstStyle/>
          <a:p>
            <a:pPr algn="ctr"/>
            <a:r>
              <a:rPr lang="en-US" sz="1200" b="1" dirty="0">
                <a:latin typeface="Segoe UI" panose="020B0502040204020203" pitchFamily="34" charset="0"/>
                <a:cs typeface="Segoe UI" panose="020B0502040204020203" pitchFamily="34" charset="0"/>
              </a:rPr>
              <a:t>(1979) </a:t>
            </a:r>
            <a:endParaRPr lang="en-US" sz="1200" dirty="0">
              <a:latin typeface="Segoe UI" panose="020B0502040204020203" pitchFamily="34" charset="0"/>
            </a:endParaRPr>
          </a:p>
        </p:txBody>
      </p:sp>
      <p:sp>
        <p:nvSpPr>
          <p:cNvPr id="23" name="TextBox 22">
            <a:extLst>
              <a:ext uri="{FF2B5EF4-FFF2-40B4-BE49-F238E27FC236}">
                <a16:creationId xmlns:a16="http://schemas.microsoft.com/office/drawing/2014/main" id="{CB3F375A-654E-670D-9147-9CC32A37C65A}"/>
              </a:ext>
            </a:extLst>
          </p:cNvPr>
          <p:cNvSpPr txBox="1"/>
          <p:nvPr/>
        </p:nvSpPr>
        <p:spPr>
          <a:xfrm>
            <a:off x="5371133" y="2798367"/>
            <a:ext cx="1143001" cy="276999"/>
          </a:xfrm>
          <a:prstGeom prst="rect">
            <a:avLst/>
          </a:prstGeom>
          <a:solidFill>
            <a:schemeClr val="bg1"/>
          </a:solidFill>
        </p:spPr>
        <p:txBody>
          <a:bodyPr wrap="square">
            <a:spAutoFit/>
          </a:bodyPr>
          <a:lstStyle/>
          <a:p>
            <a:pPr algn="ctr"/>
            <a:r>
              <a:rPr lang="en-US" sz="1200" b="1" dirty="0">
                <a:latin typeface="Segoe UI" panose="020B0502040204020203" pitchFamily="34" charset="0"/>
                <a:cs typeface="Segoe UI" panose="020B0502040204020203" pitchFamily="34" charset="0"/>
              </a:rPr>
              <a:t>(1984) </a:t>
            </a:r>
            <a:endParaRPr lang="en-US" sz="1200" dirty="0">
              <a:latin typeface="Segoe UI" panose="020B0502040204020203" pitchFamily="34" charset="0"/>
            </a:endParaRPr>
          </a:p>
        </p:txBody>
      </p:sp>
      <p:sp>
        <p:nvSpPr>
          <p:cNvPr id="29" name="TextBox 28">
            <a:extLst>
              <a:ext uri="{FF2B5EF4-FFF2-40B4-BE49-F238E27FC236}">
                <a16:creationId xmlns:a16="http://schemas.microsoft.com/office/drawing/2014/main" id="{BCC21211-490D-D538-E25E-6B690AA57388}"/>
              </a:ext>
            </a:extLst>
          </p:cNvPr>
          <p:cNvSpPr txBox="1"/>
          <p:nvPr/>
        </p:nvSpPr>
        <p:spPr>
          <a:xfrm>
            <a:off x="5371133" y="3666703"/>
            <a:ext cx="1143001" cy="276999"/>
          </a:xfrm>
          <a:prstGeom prst="rect">
            <a:avLst/>
          </a:prstGeom>
          <a:solidFill>
            <a:schemeClr val="bg1"/>
          </a:solidFill>
        </p:spPr>
        <p:txBody>
          <a:bodyPr wrap="square">
            <a:spAutoFit/>
          </a:bodyPr>
          <a:lstStyle/>
          <a:p>
            <a:pPr algn="ctr"/>
            <a:r>
              <a:rPr lang="en-US" sz="1200" b="1" dirty="0">
                <a:latin typeface="Segoe UI" panose="020B0502040204020203" pitchFamily="34" charset="0"/>
                <a:cs typeface="Segoe UI" panose="020B0502040204020203" pitchFamily="34" charset="0"/>
              </a:rPr>
              <a:t>(1991) </a:t>
            </a:r>
            <a:endParaRPr lang="en-US" sz="1200" dirty="0">
              <a:latin typeface="Segoe UI" panose="020B0502040204020203" pitchFamily="34" charset="0"/>
            </a:endParaRPr>
          </a:p>
        </p:txBody>
      </p:sp>
      <p:sp>
        <p:nvSpPr>
          <p:cNvPr id="30" name="TextBox 29">
            <a:extLst>
              <a:ext uri="{FF2B5EF4-FFF2-40B4-BE49-F238E27FC236}">
                <a16:creationId xmlns:a16="http://schemas.microsoft.com/office/drawing/2014/main" id="{0F93F524-195F-B606-0A5E-370CF0D0E8E0}"/>
              </a:ext>
            </a:extLst>
          </p:cNvPr>
          <p:cNvSpPr txBox="1"/>
          <p:nvPr/>
        </p:nvSpPr>
        <p:spPr>
          <a:xfrm>
            <a:off x="5371133" y="4536836"/>
            <a:ext cx="1143001" cy="276999"/>
          </a:xfrm>
          <a:prstGeom prst="rect">
            <a:avLst/>
          </a:prstGeom>
          <a:solidFill>
            <a:schemeClr val="bg1"/>
          </a:solidFill>
        </p:spPr>
        <p:txBody>
          <a:bodyPr wrap="square">
            <a:spAutoFit/>
          </a:bodyPr>
          <a:lstStyle/>
          <a:p>
            <a:pPr algn="ctr"/>
            <a:r>
              <a:rPr lang="en-US" sz="1200" b="1" dirty="0">
                <a:latin typeface="Segoe UI" panose="020B0502040204020203" pitchFamily="34" charset="0"/>
                <a:cs typeface="Segoe UI" panose="020B0502040204020203" pitchFamily="34" charset="0"/>
              </a:rPr>
              <a:t>(2002) </a:t>
            </a:r>
            <a:endParaRPr lang="en-US" sz="1200" dirty="0">
              <a:latin typeface="Segoe UI" panose="020B0502040204020203" pitchFamily="34" charset="0"/>
            </a:endParaRPr>
          </a:p>
        </p:txBody>
      </p:sp>
      <p:sp>
        <p:nvSpPr>
          <p:cNvPr id="31" name="TextBox 30">
            <a:extLst>
              <a:ext uri="{FF2B5EF4-FFF2-40B4-BE49-F238E27FC236}">
                <a16:creationId xmlns:a16="http://schemas.microsoft.com/office/drawing/2014/main" id="{EDD77ECE-6FED-4DD4-EA97-59BC1657E259}"/>
              </a:ext>
            </a:extLst>
          </p:cNvPr>
          <p:cNvSpPr txBox="1"/>
          <p:nvPr/>
        </p:nvSpPr>
        <p:spPr>
          <a:xfrm>
            <a:off x="5371133" y="5418693"/>
            <a:ext cx="1143001" cy="276999"/>
          </a:xfrm>
          <a:prstGeom prst="rect">
            <a:avLst/>
          </a:prstGeom>
          <a:noFill/>
        </p:spPr>
        <p:txBody>
          <a:bodyPr wrap="square">
            <a:spAutoFit/>
          </a:bodyPr>
          <a:lstStyle/>
          <a:p>
            <a:pPr algn="ctr"/>
            <a:r>
              <a:rPr lang="en-US" sz="1200" b="1" dirty="0">
                <a:latin typeface="Segoe UI" panose="020B0502040204020203" pitchFamily="34" charset="0"/>
                <a:cs typeface="Segoe UI" panose="020B0502040204020203" pitchFamily="34" charset="0"/>
              </a:rPr>
              <a:t>(2012) </a:t>
            </a:r>
            <a:endParaRPr lang="en-US" sz="1200" dirty="0">
              <a:latin typeface="Segoe UI" panose="020B0502040204020203" pitchFamily="34" charset="0"/>
            </a:endParaRPr>
          </a:p>
        </p:txBody>
      </p:sp>
      <p:sp>
        <p:nvSpPr>
          <p:cNvPr id="16" name="Title 1">
            <a:extLst>
              <a:ext uri="{FF2B5EF4-FFF2-40B4-BE49-F238E27FC236}">
                <a16:creationId xmlns:a16="http://schemas.microsoft.com/office/drawing/2014/main" id="{247BCEB3-EE56-7D46-87F6-C5399E518034}"/>
              </a:ext>
            </a:extLst>
          </p:cNvPr>
          <p:cNvSpPr txBox="1">
            <a:spLocks/>
          </p:cNvSpPr>
          <p:nvPr/>
        </p:nvSpPr>
        <p:spPr>
          <a:xfrm>
            <a:off x="451204" y="1978065"/>
            <a:ext cx="4919929" cy="45433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lang="en-US" sz="1600" dirty="0">
                <a:latin typeface="Segoe UI" panose="020B0502040204020203" pitchFamily="34" charset="0"/>
                <a:cs typeface="Segoe UI" panose="020B0502040204020203" pitchFamily="34" charset="0"/>
              </a:rPr>
              <a:t>There is nothing new about adapting assessment to changing times and needs. </a:t>
            </a:r>
          </a:p>
          <a:p>
            <a:pPr marL="0" marR="0" lvl="0" indent="0" algn="l" defTabSz="914400" rtl="0" eaLnBrk="1" fontAlgn="auto" latinLnBrk="0" hangingPunct="1">
              <a:lnSpc>
                <a:spcPct val="90000"/>
              </a:lnSpc>
              <a:spcBef>
                <a:spcPct val="0"/>
              </a:spcBef>
              <a:spcAft>
                <a:spcPts val="600"/>
              </a:spcAft>
              <a:buClrTx/>
              <a:buSzTx/>
              <a:buFontTx/>
              <a:buNone/>
              <a:tabLst/>
              <a:defRPr/>
            </a:pPr>
            <a:endParaRPr lang="en-US" sz="1600" dirty="0">
              <a:latin typeface="Segoe UI" panose="020B0502040204020203" pitchFamily="34" charset="0"/>
              <a:cs typeface="Segoe UI" panose="020B0502040204020203" pitchFamily="34" charset="0"/>
            </a:endParaRPr>
          </a:p>
          <a:p>
            <a:pPr algn="l">
              <a:lnSpc>
                <a:spcPct val="100000"/>
              </a:lnSpc>
            </a:pPr>
            <a:r>
              <a:rPr lang="en-US" sz="1600" dirty="0"/>
              <a:t>When Texas developed the STAAR exam, policymakers</a:t>
            </a:r>
            <a:r>
              <a:rPr lang="en-US" sz="1600" b="1" dirty="0"/>
              <a:t> </a:t>
            </a:r>
            <a:r>
              <a:rPr lang="en-US" sz="1600" dirty="0"/>
              <a:t>performance on the STAAR exam was </a:t>
            </a:r>
            <a:r>
              <a:rPr lang="en-US" sz="1600" b="1" dirty="0">
                <a:solidFill>
                  <a:srgbClr val="F26851"/>
                </a:solidFill>
              </a:rPr>
              <a:t>pegged to certain post-high school performance indicators</a:t>
            </a:r>
            <a:r>
              <a:rPr lang="en-US" sz="1600" dirty="0">
                <a:solidFill>
                  <a:srgbClr val="F26851"/>
                </a:solidFill>
              </a:rPr>
              <a:t>.  </a:t>
            </a:r>
          </a:p>
          <a:p>
            <a:pPr algn="l">
              <a:lnSpc>
                <a:spcPct val="100000"/>
              </a:lnSpc>
              <a:spcBef>
                <a:spcPts val="3000"/>
              </a:spcBef>
            </a:pPr>
            <a:r>
              <a:rPr lang="en-US" sz="1600" dirty="0"/>
              <a:t>What this means is that the </a:t>
            </a:r>
            <a:r>
              <a:rPr lang="en-US" sz="1600" b="1" dirty="0">
                <a:solidFill>
                  <a:srgbClr val="F26851"/>
                </a:solidFill>
              </a:rPr>
              <a:t>STAAR is the first Texas exam tied to post-graduation performance levels</a:t>
            </a:r>
            <a:r>
              <a:rPr lang="en-US" sz="1600" dirty="0"/>
              <a:t>, making it a more rigorous but also a more relevant exam.  </a:t>
            </a:r>
          </a:p>
          <a:p>
            <a:pPr marL="0" marR="0" lvl="0" indent="0" algn="l" defTabSz="914400" rtl="0" eaLnBrk="1" fontAlgn="auto" latinLnBrk="0" hangingPunct="1">
              <a:lnSpc>
                <a:spcPct val="90000"/>
              </a:lnSpc>
              <a:spcBef>
                <a:spcPct val="0"/>
              </a:spcBef>
              <a:spcAft>
                <a:spcPts val="600"/>
              </a:spcAft>
              <a:buClrTx/>
              <a:buSzTx/>
              <a:buFontTx/>
              <a:buNone/>
              <a:tabLst/>
              <a:defRPr/>
            </a:pPr>
            <a:endParaRPr lang="en-US" sz="1600" dirty="0">
              <a:latin typeface="Segoe UI" panose="020B0502040204020203" pitchFamily="34" charset="0"/>
              <a:cs typeface="Segoe UI" panose="020B0502040204020203" pitchFamily="34" charset="0"/>
            </a:endParaRPr>
          </a:p>
        </p:txBody>
      </p:sp>
      <p:grpSp>
        <p:nvGrpSpPr>
          <p:cNvPr id="12" name="Group 11">
            <a:extLst>
              <a:ext uri="{FF2B5EF4-FFF2-40B4-BE49-F238E27FC236}">
                <a16:creationId xmlns:a16="http://schemas.microsoft.com/office/drawing/2014/main" id="{C8E93AB7-03D8-371F-D869-D0FEA0641B89}"/>
              </a:ext>
            </a:extLst>
          </p:cNvPr>
          <p:cNvGrpSpPr/>
          <p:nvPr/>
        </p:nvGrpSpPr>
        <p:grpSpPr>
          <a:xfrm>
            <a:off x="6392683" y="4390298"/>
            <a:ext cx="1088020" cy="645103"/>
            <a:chOff x="9858375" y="4147407"/>
            <a:chExt cx="1762125" cy="914022"/>
          </a:xfrm>
        </p:grpSpPr>
        <p:sp>
          <p:nvSpPr>
            <p:cNvPr id="18" name="Rectangle: Rounded Corners 17">
              <a:extLst>
                <a:ext uri="{FF2B5EF4-FFF2-40B4-BE49-F238E27FC236}">
                  <a16:creationId xmlns:a16="http://schemas.microsoft.com/office/drawing/2014/main" id="{680CD899-8026-EDED-08A0-51F90C104045}"/>
                </a:ext>
              </a:extLst>
            </p:cNvPr>
            <p:cNvSpPr/>
            <p:nvPr/>
          </p:nvSpPr>
          <p:spPr>
            <a:xfrm>
              <a:off x="9858375" y="4147407"/>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4" name="Picture 2" descr="Texas Assessment of Knowledge and Skills - Wikipedia">
              <a:extLst>
                <a:ext uri="{FF2B5EF4-FFF2-40B4-BE49-F238E27FC236}">
                  <a16:creationId xmlns:a16="http://schemas.microsoft.com/office/drawing/2014/main" id="{4C6D0E48-1684-994A-B9A1-A03CEC5B6527}"/>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0212666" y="4273776"/>
              <a:ext cx="1038226" cy="7689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EB5EAAA8-F6D1-A167-B492-031CF56B422E}"/>
              </a:ext>
            </a:extLst>
          </p:cNvPr>
          <p:cNvGrpSpPr/>
          <p:nvPr/>
        </p:nvGrpSpPr>
        <p:grpSpPr>
          <a:xfrm>
            <a:off x="6362080" y="1793889"/>
            <a:ext cx="1088020" cy="645103"/>
            <a:chOff x="9858375" y="1085231"/>
            <a:chExt cx="1762125" cy="914022"/>
          </a:xfrm>
        </p:grpSpPr>
        <p:sp>
          <p:nvSpPr>
            <p:cNvPr id="21" name="Rectangle: Rounded Corners 20">
              <a:extLst>
                <a:ext uri="{FF2B5EF4-FFF2-40B4-BE49-F238E27FC236}">
                  <a16:creationId xmlns:a16="http://schemas.microsoft.com/office/drawing/2014/main" id="{731A932F-12C9-0EFF-9FD0-C1DE76CB31B4}"/>
                </a:ext>
              </a:extLst>
            </p:cNvPr>
            <p:cNvSpPr/>
            <p:nvPr/>
          </p:nvSpPr>
          <p:spPr>
            <a:xfrm>
              <a:off x="9858375" y="1085231"/>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5" name="Picture 24">
              <a:extLst>
                <a:ext uri="{FF2B5EF4-FFF2-40B4-BE49-F238E27FC236}">
                  <a16:creationId xmlns:a16="http://schemas.microsoft.com/office/drawing/2014/main" id="{768890DE-E2B8-114E-91F8-3359DD1F1EF1}"/>
                </a:ext>
              </a:extLst>
            </p:cNvPr>
            <p:cNvPicPr>
              <a:picLocks noChangeAspect="1"/>
            </p:cNvPicPr>
            <p:nvPr/>
          </p:nvPicPr>
          <p:blipFill>
            <a:blip r:embed="rId4"/>
            <a:stretch>
              <a:fillRect/>
            </a:stretch>
          </p:blipFill>
          <p:spPr>
            <a:xfrm>
              <a:off x="10220324" y="1189125"/>
              <a:ext cx="1038226" cy="706234"/>
            </a:xfrm>
            <a:prstGeom prst="rect">
              <a:avLst/>
            </a:prstGeom>
          </p:spPr>
        </p:pic>
      </p:grpSp>
      <p:grpSp>
        <p:nvGrpSpPr>
          <p:cNvPr id="13" name="Group 12">
            <a:extLst>
              <a:ext uri="{FF2B5EF4-FFF2-40B4-BE49-F238E27FC236}">
                <a16:creationId xmlns:a16="http://schemas.microsoft.com/office/drawing/2014/main" id="{B82726AE-0417-98C7-8E19-DC8FC05900B7}"/>
              </a:ext>
            </a:extLst>
          </p:cNvPr>
          <p:cNvGrpSpPr/>
          <p:nvPr/>
        </p:nvGrpSpPr>
        <p:grpSpPr>
          <a:xfrm>
            <a:off x="6392683" y="5244186"/>
            <a:ext cx="1088020" cy="645103"/>
            <a:chOff x="9858375" y="5112140"/>
            <a:chExt cx="1762125" cy="914022"/>
          </a:xfrm>
        </p:grpSpPr>
        <p:sp>
          <p:nvSpPr>
            <p:cNvPr id="19" name="Rectangle: Rounded Corners 18">
              <a:extLst>
                <a:ext uri="{FF2B5EF4-FFF2-40B4-BE49-F238E27FC236}">
                  <a16:creationId xmlns:a16="http://schemas.microsoft.com/office/drawing/2014/main" id="{426BAF8C-2675-B03A-72AE-51F63BDF3C81}"/>
                </a:ext>
              </a:extLst>
            </p:cNvPr>
            <p:cNvSpPr/>
            <p:nvPr/>
          </p:nvSpPr>
          <p:spPr>
            <a:xfrm>
              <a:off x="9858375" y="5112140"/>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6" name="Picture 6" descr="Test Administrator Manual Grades 3–5">
              <a:extLst>
                <a:ext uri="{FF2B5EF4-FFF2-40B4-BE49-F238E27FC236}">
                  <a16:creationId xmlns:a16="http://schemas.microsoft.com/office/drawing/2014/main" id="{66BA8595-BA5E-2642-86A5-6044D87F7849}"/>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227983" y="5257290"/>
              <a:ext cx="1022908" cy="6237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095538AC-188C-1CB5-19EE-E769D1830C39}"/>
              </a:ext>
            </a:extLst>
          </p:cNvPr>
          <p:cNvGrpSpPr/>
          <p:nvPr/>
        </p:nvGrpSpPr>
        <p:grpSpPr>
          <a:xfrm>
            <a:off x="6392683" y="3520165"/>
            <a:ext cx="1088020" cy="645103"/>
            <a:chOff x="9858375" y="3179156"/>
            <a:chExt cx="1762125" cy="914022"/>
          </a:xfrm>
        </p:grpSpPr>
        <p:sp>
          <p:nvSpPr>
            <p:cNvPr id="17" name="Rectangle: Rounded Corners 16">
              <a:extLst>
                <a:ext uri="{FF2B5EF4-FFF2-40B4-BE49-F238E27FC236}">
                  <a16:creationId xmlns:a16="http://schemas.microsoft.com/office/drawing/2014/main" id="{716B75A7-A827-8263-B55E-B06B383AB7C6}"/>
                </a:ext>
              </a:extLst>
            </p:cNvPr>
            <p:cNvSpPr/>
            <p:nvPr/>
          </p:nvSpPr>
          <p:spPr>
            <a:xfrm>
              <a:off x="9858375" y="3179156"/>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7" name="Picture 26" descr="A picture containing application&#10;&#10;Description automatically generated">
              <a:extLst>
                <a:ext uri="{FF2B5EF4-FFF2-40B4-BE49-F238E27FC236}">
                  <a16:creationId xmlns:a16="http://schemas.microsoft.com/office/drawing/2014/main" id="{C7C5B600-E9FC-3245-9949-36E95FA8CFB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153613" y="3250116"/>
              <a:ext cx="1171648" cy="772102"/>
            </a:xfrm>
            <a:prstGeom prst="rect">
              <a:avLst/>
            </a:prstGeom>
          </p:spPr>
        </p:pic>
      </p:grpSp>
      <p:grpSp>
        <p:nvGrpSpPr>
          <p:cNvPr id="10" name="Group 9">
            <a:extLst>
              <a:ext uri="{FF2B5EF4-FFF2-40B4-BE49-F238E27FC236}">
                <a16:creationId xmlns:a16="http://schemas.microsoft.com/office/drawing/2014/main" id="{A16BCB9A-01DF-AC0C-E88B-E2B0F0F5D62D}"/>
              </a:ext>
            </a:extLst>
          </p:cNvPr>
          <p:cNvGrpSpPr/>
          <p:nvPr/>
        </p:nvGrpSpPr>
        <p:grpSpPr>
          <a:xfrm>
            <a:off x="6392683" y="2651829"/>
            <a:ext cx="1088020" cy="645103"/>
            <a:chOff x="9858375" y="2132981"/>
            <a:chExt cx="1762125" cy="914022"/>
          </a:xfrm>
        </p:grpSpPr>
        <p:sp>
          <p:nvSpPr>
            <p:cNvPr id="15" name="Rectangle: Rounded Corners 14">
              <a:extLst>
                <a:ext uri="{FF2B5EF4-FFF2-40B4-BE49-F238E27FC236}">
                  <a16:creationId xmlns:a16="http://schemas.microsoft.com/office/drawing/2014/main" id="{8938BFBA-DDCB-DBFC-3C2A-C93E44D573D0}"/>
                </a:ext>
              </a:extLst>
            </p:cNvPr>
            <p:cNvSpPr/>
            <p:nvPr/>
          </p:nvSpPr>
          <p:spPr>
            <a:xfrm>
              <a:off x="9858375" y="2132981"/>
              <a:ext cx="1762125" cy="914022"/>
            </a:xfrm>
            <a:prstGeom prst="roundRect">
              <a:avLst>
                <a:gd name="adj" fmla="val 11457"/>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pic>
          <p:nvPicPr>
            <p:cNvPr id="28" name="Picture 27" descr="Text&#10;&#10;Description automatically generated">
              <a:extLst>
                <a:ext uri="{FF2B5EF4-FFF2-40B4-BE49-F238E27FC236}">
                  <a16:creationId xmlns:a16="http://schemas.microsoft.com/office/drawing/2014/main" id="{3E9D9FFD-D7AB-3A4A-B66B-4F1F85D7E25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0162990" y="2278130"/>
              <a:ext cx="1152894" cy="623724"/>
            </a:xfrm>
            <a:prstGeom prst="rect">
              <a:avLst/>
            </a:prstGeom>
          </p:spPr>
        </p:pic>
      </p:grpSp>
      <p:sp>
        <p:nvSpPr>
          <p:cNvPr id="2" name="Title 1">
            <a:extLst>
              <a:ext uri="{FF2B5EF4-FFF2-40B4-BE49-F238E27FC236}">
                <a16:creationId xmlns:a16="http://schemas.microsoft.com/office/drawing/2014/main" id="{94A9EE00-5A3E-F487-B2E3-632FEA668432}"/>
              </a:ext>
            </a:extLst>
          </p:cNvPr>
          <p:cNvSpPr txBox="1">
            <a:spLocks/>
          </p:cNvSpPr>
          <p:nvPr/>
        </p:nvSpPr>
        <p:spPr>
          <a:xfrm>
            <a:off x="7524841" y="1925038"/>
            <a:ext cx="5042323" cy="450934"/>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2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Texas </a:t>
            </a:r>
            <a:r>
              <a:rPr lang="en-US" sz="1200" dirty="0">
                <a:latin typeface="Segoe UI" panose="020B0502040204020203" pitchFamily="34" charset="0"/>
                <a:cs typeface="Segoe UI" panose="020B0502040204020203" pitchFamily="34" charset="0"/>
              </a:rPr>
              <a:t>Assessment of </a:t>
            </a:r>
            <a:r>
              <a:rPr lang="en-US" sz="1200" b="1" dirty="0">
                <a:solidFill>
                  <a:schemeClr val="accent1"/>
                </a:solidFill>
                <a:latin typeface="Segoe UI" panose="020B0502040204020203" pitchFamily="34" charset="0"/>
                <a:cs typeface="Segoe UI" panose="020B0502040204020203" pitchFamily="34" charset="0"/>
              </a:rPr>
              <a:t>BASIC SKILLS</a:t>
            </a:r>
            <a:endParaRPr lang="en-US" sz="1200" b="1" dirty="0">
              <a:latin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90AF4B9A-C4F0-6AAB-A825-9E48C670B922}"/>
              </a:ext>
            </a:extLst>
          </p:cNvPr>
          <p:cNvSpPr txBox="1">
            <a:spLocks/>
          </p:cNvSpPr>
          <p:nvPr/>
        </p:nvSpPr>
        <p:spPr>
          <a:xfrm>
            <a:off x="7524841" y="2778976"/>
            <a:ext cx="5974201" cy="446099"/>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2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Texas </a:t>
            </a:r>
            <a:r>
              <a:rPr lang="en-US" sz="1200" dirty="0">
                <a:latin typeface="Segoe UI" panose="020B0502040204020203" pitchFamily="34" charset="0"/>
                <a:cs typeface="Segoe UI" panose="020B0502040204020203" pitchFamily="34" charset="0"/>
              </a:rPr>
              <a:t>Assessment of </a:t>
            </a:r>
            <a:r>
              <a:rPr lang="en-US" sz="1200" b="1" dirty="0">
                <a:solidFill>
                  <a:schemeClr val="accent1"/>
                </a:solidFill>
                <a:latin typeface="Segoe UI" panose="020B0502040204020203" pitchFamily="34" charset="0"/>
                <a:cs typeface="Segoe UI" panose="020B0502040204020203" pitchFamily="34" charset="0"/>
              </a:rPr>
              <a:t>MINIMUM SKILLS</a:t>
            </a:r>
            <a:endParaRPr lang="en-US" sz="1200" b="1" dirty="0">
              <a:latin typeface="Segoe UI" panose="020B0502040204020203" pitchFamily="34" charset="0"/>
              <a:cs typeface="Segoe UI" panose="020B0502040204020203" pitchFamily="34" charset="0"/>
            </a:endParaRPr>
          </a:p>
        </p:txBody>
      </p:sp>
      <p:sp>
        <p:nvSpPr>
          <p:cNvPr id="5" name="Title 1">
            <a:extLst>
              <a:ext uri="{FF2B5EF4-FFF2-40B4-BE49-F238E27FC236}">
                <a16:creationId xmlns:a16="http://schemas.microsoft.com/office/drawing/2014/main" id="{099CA7D6-6BA4-3097-C085-B14DB08B73C6}"/>
              </a:ext>
            </a:extLst>
          </p:cNvPr>
          <p:cNvSpPr txBox="1">
            <a:spLocks/>
          </p:cNvSpPr>
          <p:nvPr/>
        </p:nvSpPr>
        <p:spPr>
          <a:xfrm>
            <a:off x="7524841" y="3619122"/>
            <a:ext cx="5759096" cy="433978"/>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2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Texas </a:t>
            </a:r>
            <a:r>
              <a:rPr lang="en-US" sz="1200" dirty="0">
                <a:latin typeface="Segoe UI" panose="020B0502040204020203" pitchFamily="34" charset="0"/>
                <a:cs typeface="Segoe UI" panose="020B0502040204020203" pitchFamily="34" charset="0"/>
              </a:rPr>
              <a:t>Assessment of </a:t>
            </a:r>
            <a:r>
              <a:rPr lang="en-US" sz="1200" b="1" dirty="0">
                <a:solidFill>
                  <a:schemeClr val="accent1"/>
                </a:solidFill>
                <a:latin typeface="Segoe UI" panose="020B0502040204020203" pitchFamily="34" charset="0"/>
                <a:cs typeface="Segoe UI" panose="020B0502040204020203" pitchFamily="34" charset="0"/>
              </a:rPr>
              <a:t>ACADEMIC SKILLS</a:t>
            </a:r>
            <a:endParaRPr lang="en-US" sz="1200" b="1" dirty="0">
              <a:latin typeface="Segoe UI" panose="020B0502040204020203" pitchFamily="34" charset="0"/>
              <a:cs typeface="Segoe UI" panose="020B0502040204020203" pitchFamily="34" charset="0"/>
            </a:endParaRPr>
          </a:p>
        </p:txBody>
      </p:sp>
      <p:sp>
        <p:nvSpPr>
          <p:cNvPr id="6" name="Title 1">
            <a:extLst>
              <a:ext uri="{FF2B5EF4-FFF2-40B4-BE49-F238E27FC236}">
                <a16:creationId xmlns:a16="http://schemas.microsoft.com/office/drawing/2014/main" id="{84800B60-0B7E-A74F-5932-310B9FA95F32}"/>
              </a:ext>
            </a:extLst>
          </p:cNvPr>
          <p:cNvSpPr txBox="1">
            <a:spLocks/>
          </p:cNvSpPr>
          <p:nvPr/>
        </p:nvSpPr>
        <p:spPr>
          <a:xfrm>
            <a:off x="7524841" y="4479487"/>
            <a:ext cx="6740171" cy="46166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2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Texas </a:t>
            </a:r>
            <a:r>
              <a:rPr lang="en-US" sz="1200" dirty="0">
                <a:latin typeface="Segoe UI" panose="020B0502040204020203" pitchFamily="34" charset="0"/>
                <a:cs typeface="Segoe UI" panose="020B0502040204020203" pitchFamily="34" charset="0"/>
              </a:rPr>
              <a:t>Assessment of </a:t>
            </a:r>
            <a:r>
              <a:rPr lang="en-US" sz="1200" b="1" dirty="0">
                <a:solidFill>
                  <a:schemeClr val="accent1"/>
                </a:solidFill>
                <a:latin typeface="Segoe UI" panose="020B0502040204020203" pitchFamily="34" charset="0"/>
                <a:cs typeface="Segoe UI" panose="020B0502040204020203" pitchFamily="34" charset="0"/>
              </a:rPr>
              <a:t>KNOWLEDGE AND SKILLS</a:t>
            </a:r>
            <a:endParaRPr lang="en-US" sz="1200" b="1" dirty="0">
              <a:latin typeface="Segoe UI" panose="020B0502040204020203" pitchFamily="34" charset="0"/>
              <a:cs typeface="Segoe UI" panose="020B0502040204020203" pitchFamily="34" charset="0"/>
            </a:endParaRPr>
          </a:p>
        </p:txBody>
      </p:sp>
      <p:sp>
        <p:nvSpPr>
          <p:cNvPr id="7" name="Title 1">
            <a:extLst>
              <a:ext uri="{FF2B5EF4-FFF2-40B4-BE49-F238E27FC236}">
                <a16:creationId xmlns:a16="http://schemas.microsoft.com/office/drawing/2014/main" id="{F324DD02-3523-0F61-298E-A67BE0A720BF}"/>
              </a:ext>
            </a:extLst>
          </p:cNvPr>
          <p:cNvSpPr txBox="1">
            <a:spLocks/>
          </p:cNvSpPr>
          <p:nvPr/>
        </p:nvSpPr>
        <p:spPr>
          <a:xfrm>
            <a:off x="7524841" y="5367539"/>
            <a:ext cx="7537663" cy="45433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1200" u="none" strike="noStrike" kern="1200" cap="none" spc="0" normalizeH="0" baseline="0" noProof="0" dirty="0">
                <a:ln>
                  <a:noFill/>
                </a:ln>
                <a:effectLst/>
                <a:uLnTx/>
                <a:uFillTx/>
                <a:latin typeface="Segoe UI" panose="020B0502040204020203" pitchFamily="34" charset="0"/>
                <a:ea typeface="+mj-ea"/>
                <a:cs typeface="Segoe UI" panose="020B0502040204020203" pitchFamily="34" charset="0"/>
              </a:rPr>
              <a:t>State of Texas </a:t>
            </a:r>
            <a:r>
              <a:rPr lang="en-US" sz="1200" dirty="0">
                <a:latin typeface="Segoe UI" panose="020B0502040204020203" pitchFamily="34" charset="0"/>
                <a:cs typeface="Segoe UI" panose="020B0502040204020203" pitchFamily="34" charset="0"/>
              </a:rPr>
              <a:t>Assessment of </a:t>
            </a:r>
            <a:r>
              <a:rPr lang="en-US" sz="1200" b="1" dirty="0">
                <a:solidFill>
                  <a:schemeClr val="accent1"/>
                </a:solidFill>
                <a:latin typeface="Segoe UI" panose="020B0502040204020203" pitchFamily="34" charset="0"/>
                <a:cs typeface="Segoe UI" panose="020B0502040204020203" pitchFamily="34" charset="0"/>
              </a:rPr>
              <a:t>ACADEMIC READINESS</a:t>
            </a:r>
            <a:endParaRPr lang="en-US" sz="1200" b="1" dirty="0">
              <a:latin typeface="Segoe UI" panose="020B0502040204020203" pitchFamily="34" charset="0"/>
              <a:cs typeface="Segoe UI" panose="020B0502040204020203" pitchFamily="34" charset="0"/>
            </a:endParaRPr>
          </a:p>
        </p:txBody>
      </p:sp>
      <p:sp>
        <p:nvSpPr>
          <p:cNvPr id="3" name="Title 1">
            <a:extLst>
              <a:ext uri="{FF2B5EF4-FFF2-40B4-BE49-F238E27FC236}">
                <a16:creationId xmlns:a16="http://schemas.microsoft.com/office/drawing/2014/main" id="{2916BE1B-4914-1000-8B92-CD4EC5D3215A}"/>
              </a:ext>
            </a:extLst>
          </p:cNvPr>
          <p:cNvSpPr txBox="1">
            <a:spLocks/>
          </p:cNvSpPr>
          <p:nvPr/>
        </p:nvSpPr>
        <p:spPr>
          <a:xfrm>
            <a:off x="451204" y="490134"/>
            <a:ext cx="11169296" cy="454335"/>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lang="en-US" sz="3200" b="1" dirty="0">
                <a:solidFill>
                  <a:schemeClr val="accent2"/>
                </a:solidFill>
                <a:latin typeface="Segoe UI" panose="020B0502040204020203" pitchFamily="34" charset="0"/>
                <a:cs typeface="Segoe UI" panose="020B0502040204020203" pitchFamily="34" charset="0"/>
              </a:rPr>
              <a:t>Texas Started Assessing Basic Skills in 1979, Today We Assess Academic Readiness for College and Career </a:t>
            </a:r>
            <a:endParaRPr kumimoji="0" lang="en-US" sz="3200" b="1" u="none" strike="noStrike" kern="1200" cap="none" spc="0" normalizeH="0" baseline="0" noProof="0" dirty="0">
              <a:ln>
                <a:noFill/>
              </a:ln>
              <a:solidFill>
                <a:schemeClr val="accent2"/>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32572144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13622-250D-4B7D-864C-37807870BCE3}"/>
              </a:ext>
            </a:extLst>
          </p:cNvPr>
          <p:cNvSpPr txBox="1">
            <a:spLocks/>
          </p:cNvSpPr>
          <p:nvPr/>
        </p:nvSpPr>
        <p:spPr>
          <a:xfrm>
            <a:off x="477695" y="479889"/>
            <a:ext cx="10295162" cy="535531"/>
          </a:xfrm>
          <a:prstGeom prst="rect">
            <a:avLst/>
          </a:prstGeom>
        </p:spPr>
        <p:txBody>
          <a:bodyPr wrap="square" anchor="ctr" anchorCtr="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200" b="1" i="0" u="none" strike="noStrike" kern="1200" cap="none" spc="0" normalizeH="0" baseline="0" noProof="0" dirty="0">
                <a:ln>
                  <a:noFill/>
                </a:ln>
                <a:solidFill>
                  <a:srgbClr val="082567"/>
                </a:solidFill>
                <a:effectLst/>
                <a:uLnTx/>
                <a:uFillTx/>
                <a:latin typeface="Segoe UI" panose="020B0502040204020203" pitchFamily="34" charset="0"/>
                <a:ea typeface="+mj-ea"/>
                <a:cs typeface="Segoe UI" panose="020B0502040204020203" pitchFamily="34" charset="0"/>
              </a:rPr>
              <a:t>Texas Education Trends: 1990s </a:t>
            </a:r>
          </a:p>
        </p:txBody>
      </p:sp>
      <p:sp>
        <p:nvSpPr>
          <p:cNvPr id="14" name="TextBox 13">
            <a:extLst>
              <a:ext uri="{FF2B5EF4-FFF2-40B4-BE49-F238E27FC236}">
                <a16:creationId xmlns:a16="http://schemas.microsoft.com/office/drawing/2014/main" id="{07E22544-7AA4-0440-A983-44CE08DFA206}"/>
              </a:ext>
            </a:extLst>
          </p:cNvPr>
          <p:cNvSpPr txBox="1"/>
          <p:nvPr/>
        </p:nvSpPr>
        <p:spPr>
          <a:xfrm>
            <a:off x="554799" y="1226043"/>
            <a:ext cx="10225677" cy="430887"/>
          </a:xfrm>
          <a:prstGeom prst="rect">
            <a:avLst/>
          </a:prstGeom>
          <a:solidFill>
            <a:srgbClr val="F36852"/>
          </a:solidFill>
        </p:spPr>
        <p:txBody>
          <a:bodyPr wrap="square" t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Texas and National assessment data showed a consistent score increase on assessments during the 1990s </a:t>
            </a:r>
          </a:p>
        </p:txBody>
      </p:sp>
      <p:sp>
        <p:nvSpPr>
          <p:cNvPr id="10" name="Rectangle 9">
            <a:extLst>
              <a:ext uri="{FF2B5EF4-FFF2-40B4-BE49-F238E27FC236}">
                <a16:creationId xmlns:a16="http://schemas.microsoft.com/office/drawing/2014/main" id="{216821DF-1D8D-D240-8053-1A69303A4A79}"/>
              </a:ext>
            </a:extLst>
          </p:cNvPr>
          <p:cNvSpPr/>
          <p:nvPr/>
        </p:nvSpPr>
        <p:spPr>
          <a:xfrm>
            <a:off x="5222042" y="2650133"/>
            <a:ext cx="346952" cy="711338"/>
          </a:xfrm>
          <a:prstGeom prst="rect">
            <a:avLst/>
          </a:prstGeom>
          <a:solidFill>
            <a:schemeClr val="bg1"/>
          </a:solidFill>
          <a:ln w="9525" cap="flat" cmpd="sng">
            <a:solidFill>
              <a:schemeClr val="bg1"/>
            </a:solidFill>
            <a:prstDash val="solid"/>
            <a:round/>
            <a:headEnd type="none" w="sm" len="sm"/>
            <a:tailEnd type="none" w="sm" len="sm"/>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B4DA5"/>
              </a:solidFill>
              <a:effectLst/>
              <a:uLnTx/>
              <a:uFillTx/>
              <a:latin typeface="Segoe UI" panose="020B0502040204020203" pitchFamily="34" charset="0"/>
              <a:ea typeface="+mn-ea"/>
              <a:cs typeface="+mn-cs"/>
            </a:endParaRPr>
          </a:p>
        </p:txBody>
      </p:sp>
      <p:cxnSp>
        <p:nvCxnSpPr>
          <p:cNvPr id="16" name="Straight Connector 15">
            <a:extLst>
              <a:ext uri="{FF2B5EF4-FFF2-40B4-BE49-F238E27FC236}">
                <a16:creationId xmlns:a16="http://schemas.microsoft.com/office/drawing/2014/main" id="{6B12605D-617A-3842-B2E5-95542DA6D8F9}"/>
              </a:ext>
            </a:extLst>
          </p:cNvPr>
          <p:cNvCxnSpPr/>
          <p:nvPr/>
        </p:nvCxnSpPr>
        <p:spPr>
          <a:xfrm>
            <a:off x="4715678" y="1988695"/>
            <a:ext cx="0" cy="382025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Google Shape;667;p56">
            <a:extLst>
              <a:ext uri="{FF2B5EF4-FFF2-40B4-BE49-F238E27FC236}">
                <a16:creationId xmlns:a16="http://schemas.microsoft.com/office/drawing/2014/main" id="{112B391F-B757-F549-99F1-0A418D857F83}"/>
              </a:ext>
            </a:extLst>
          </p:cNvPr>
          <p:cNvSpPr/>
          <p:nvPr/>
        </p:nvSpPr>
        <p:spPr>
          <a:xfrm>
            <a:off x="1530215" y="6402550"/>
            <a:ext cx="8581971" cy="21540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Segoe UI" panose="020B0502040204020203" pitchFamily="34" charset="0"/>
                <a:ea typeface="Calibri"/>
                <a:cs typeface="Segoe UI" panose="020B0502040204020203" pitchFamily="34" charset="0"/>
                <a:sym typeface="Calibri"/>
              </a:rPr>
              <a:t>Source: Texas Education Agency, NAEP. Note: NAEP data from the time period was not gathered consistently.  We have provided the data NAEP has available from 1992 to 2002. </a:t>
            </a:r>
            <a:endParaRPr kumimoji="0"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6" name="Group 5">
            <a:extLst>
              <a:ext uri="{FF2B5EF4-FFF2-40B4-BE49-F238E27FC236}">
                <a16:creationId xmlns:a16="http://schemas.microsoft.com/office/drawing/2014/main" id="{BFD5A0DD-FDDD-4244-C628-192EBECAF254}"/>
              </a:ext>
            </a:extLst>
          </p:cNvPr>
          <p:cNvGrpSpPr/>
          <p:nvPr/>
        </p:nvGrpSpPr>
        <p:grpSpPr>
          <a:xfrm>
            <a:off x="5391807" y="1988695"/>
            <a:ext cx="6085489" cy="3324764"/>
            <a:chOff x="5391807" y="2081049"/>
            <a:chExt cx="6085489" cy="3324764"/>
          </a:xfrm>
        </p:grpSpPr>
        <p:graphicFrame>
          <p:nvGraphicFramePr>
            <p:cNvPr id="15" name="Chart 14">
              <a:extLst>
                <a:ext uri="{FF2B5EF4-FFF2-40B4-BE49-F238E27FC236}">
                  <a16:creationId xmlns:a16="http://schemas.microsoft.com/office/drawing/2014/main" id="{593210C3-331E-294E-9B27-A2C0AEECB8FE}"/>
                </a:ext>
              </a:extLst>
            </p:cNvPr>
            <p:cNvGraphicFramePr>
              <a:graphicFrameLocks/>
            </p:cNvGraphicFramePr>
            <p:nvPr/>
          </p:nvGraphicFramePr>
          <p:xfrm>
            <a:off x="5391807" y="2081049"/>
            <a:ext cx="6085489" cy="3324764"/>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610CB1C4-49D5-DE4E-9E70-92A32D967402}"/>
                </a:ext>
              </a:extLst>
            </p:cNvPr>
            <p:cNvCxnSpPr>
              <a:cxnSpLocks/>
            </p:cNvCxnSpPr>
            <p:nvPr/>
          </p:nvCxnSpPr>
          <p:spPr>
            <a:xfrm flipV="1">
              <a:off x="9818251" y="3297115"/>
              <a:ext cx="0" cy="20353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52DAC6F-3DB6-B847-8490-227630C77166}"/>
                </a:ext>
              </a:extLst>
            </p:cNvPr>
            <p:cNvCxnSpPr>
              <a:cxnSpLocks/>
            </p:cNvCxnSpPr>
            <p:nvPr/>
          </p:nvCxnSpPr>
          <p:spPr>
            <a:xfrm flipV="1">
              <a:off x="9900315" y="3282467"/>
              <a:ext cx="0" cy="20353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2CF2CAC-73DF-A89B-3D31-4FBF8D67D019}"/>
                </a:ext>
              </a:extLst>
            </p:cNvPr>
            <p:cNvCxnSpPr>
              <a:cxnSpLocks/>
            </p:cNvCxnSpPr>
            <p:nvPr/>
          </p:nvCxnSpPr>
          <p:spPr>
            <a:xfrm flipV="1">
              <a:off x="8434159" y="4004151"/>
              <a:ext cx="0" cy="20353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E8924AA-DE9B-3E5A-F9D0-D35C25FC8B68}"/>
                </a:ext>
              </a:extLst>
            </p:cNvPr>
            <p:cNvCxnSpPr>
              <a:cxnSpLocks/>
            </p:cNvCxnSpPr>
            <p:nvPr/>
          </p:nvCxnSpPr>
          <p:spPr>
            <a:xfrm flipV="1">
              <a:off x="8516223" y="3989503"/>
              <a:ext cx="0" cy="20353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3CCA059B-AA8F-8187-CD77-647F504A757E}"/>
              </a:ext>
            </a:extLst>
          </p:cNvPr>
          <p:cNvSpPr/>
          <p:nvPr/>
        </p:nvSpPr>
        <p:spPr>
          <a:xfrm>
            <a:off x="5448170" y="5633781"/>
            <a:ext cx="6172330" cy="4241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5 points on the NAEP equates to around ½ a grade level improvement. </a:t>
            </a:r>
          </a:p>
        </p:txBody>
      </p:sp>
      <p:grpSp>
        <p:nvGrpSpPr>
          <p:cNvPr id="22" name="Group 21">
            <a:extLst>
              <a:ext uri="{FF2B5EF4-FFF2-40B4-BE49-F238E27FC236}">
                <a16:creationId xmlns:a16="http://schemas.microsoft.com/office/drawing/2014/main" id="{D406F027-234C-EE27-0B42-C54A7D23B0EB}"/>
              </a:ext>
            </a:extLst>
          </p:cNvPr>
          <p:cNvGrpSpPr/>
          <p:nvPr/>
        </p:nvGrpSpPr>
        <p:grpSpPr>
          <a:xfrm>
            <a:off x="119295" y="1863772"/>
            <a:ext cx="4154121" cy="4148479"/>
            <a:chOff x="856906" y="1863772"/>
            <a:chExt cx="3401830" cy="4148479"/>
          </a:xfrm>
        </p:grpSpPr>
        <p:sp>
          <p:nvSpPr>
            <p:cNvPr id="23" name="Rectangle 22">
              <a:extLst>
                <a:ext uri="{FF2B5EF4-FFF2-40B4-BE49-F238E27FC236}">
                  <a16:creationId xmlns:a16="http://schemas.microsoft.com/office/drawing/2014/main" id="{39EC4F32-E74D-114B-3CB6-6888BBC094E1}"/>
                </a:ext>
              </a:extLst>
            </p:cNvPr>
            <p:cNvSpPr/>
            <p:nvPr/>
          </p:nvSpPr>
          <p:spPr>
            <a:xfrm>
              <a:off x="856906" y="1863772"/>
              <a:ext cx="3401830" cy="41484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sp>
          <p:nvSpPr>
            <p:cNvPr id="24" name="Rectangle 23">
              <a:extLst>
                <a:ext uri="{FF2B5EF4-FFF2-40B4-BE49-F238E27FC236}">
                  <a16:creationId xmlns:a16="http://schemas.microsoft.com/office/drawing/2014/main" id="{99795873-651E-E8D8-A3FA-CF04EDEA0E38}"/>
                </a:ext>
              </a:extLst>
            </p:cNvPr>
            <p:cNvSpPr/>
            <p:nvPr/>
          </p:nvSpPr>
          <p:spPr>
            <a:xfrm>
              <a:off x="889144" y="1938795"/>
              <a:ext cx="513441" cy="711338"/>
            </a:xfrm>
            <a:prstGeom prst="rect">
              <a:avLst/>
            </a:prstGeom>
            <a:solidFill>
              <a:schemeClr val="bg1"/>
            </a:solidFill>
            <a:ln w="9525" cap="flat" cmpd="sng">
              <a:solidFill>
                <a:schemeClr val="bg1"/>
              </a:solidFill>
              <a:prstDash val="solid"/>
              <a:round/>
              <a:headEnd type="none" w="sm" len="sm"/>
              <a:tailEnd type="none" w="sm" len="sm"/>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B4DA5"/>
                </a:solidFill>
                <a:effectLst/>
                <a:uLnTx/>
                <a:uFillTx/>
                <a:latin typeface="Segoe UI" panose="020B0502040204020203" pitchFamily="34" charset="0"/>
                <a:ea typeface="+mn-ea"/>
                <a:cs typeface="+mn-cs"/>
              </a:endParaRPr>
            </a:p>
          </p:txBody>
        </p:sp>
        <p:pic>
          <p:nvPicPr>
            <p:cNvPr id="25" name="Picture 24" descr="Chart, scatter chart&#10;&#10;Description automatically generated">
              <a:extLst>
                <a:ext uri="{FF2B5EF4-FFF2-40B4-BE49-F238E27FC236}">
                  <a16:creationId xmlns:a16="http://schemas.microsoft.com/office/drawing/2014/main" id="{DC9AEE87-676C-FD9E-87EC-1F802A0917EA}"/>
                </a:ext>
              </a:extLst>
            </p:cNvPr>
            <p:cNvPicPr>
              <a:picLocks noChangeAspect="1"/>
            </p:cNvPicPr>
            <p:nvPr/>
          </p:nvPicPr>
          <p:blipFill>
            <a:blip r:embed="rId4"/>
            <a:stretch>
              <a:fillRect/>
            </a:stretch>
          </p:blipFill>
          <p:spPr>
            <a:xfrm>
              <a:off x="1180639" y="1912361"/>
              <a:ext cx="2819400" cy="4051300"/>
            </a:xfrm>
            <a:prstGeom prst="rect">
              <a:avLst/>
            </a:prstGeom>
          </p:spPr>
        </p:pic>
        <p:sp>
          <p:nvSpPr>
            <p:cNvPr id="27" name="Rectangle 26">
              <a:extLst>
                <a:ext uri="{FF2B5EF4-FFF2-40B4-BE49-F238E27FC236}">
                  <a16:creationId xmlns:a16="http://schemas.microsoft.com/office/drawing/2014/main" id="{42862AB4-01C7-5DE8-E3F4-8003708F3848}"/>
                </a:ext>
              </a:extLst>
            </p:cNvPr>
            <p:cNvSpPr/>
            <p:nvPr/>
          </p:nvSpPr>
          <p:spPr>
            <a:xfrm>
              <a:off x="1888760" y="4557010"/>
              <a:ext cx="1858781" cy="6295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sp>
          <p:nvSpPr>
            <p:cNvPr id="28" name="Rectangle 27">
              <a:extLst>
                <a:ext uri="{FF2B5EF4-FFF2-40B4-BE49-F238E27FC236}">
                  <a16:creationId xmlns:a16="http://schemas.microsoft.com/office/drawing/2014/main" id="{2A2FFBEF-251C-D4A2-A225-FE218779D461}"/>
                </a:ext>
              </a:extLst>
            </p:cNvPr>
            <p:cNvSpPr/>
            <p:nvPr/>
          </p:nvSpPr>
          <p:spPr>
            <a:xfrm>
              <a:off x="1402586" y="2410362"/>
              <a:ext cx="2311639" cy="1329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sp>
          <p:nvSpPr>
            <p:cNvPr id="29" name="Rectangle 28">
              <a:extLst>
                <a:ext uri="{FF2B5EF4-FFF2-40B4-BE49-F238E27FC236}">
                  <a16:creationId xmlns:a16="http://schemas.microsoft.com/office/drawing/2014/main" id="{46F0C840-5068-CE5D-33BC-93FE3E367567}"/>
                </a:ext>
              </a:extLst>
            </p:cNvPr>
            <p:cNvSpPr/>
            <p:nvPr/>
          </p:nvSpPr>
          <p:spPr>
            <a:xfrm>
              <a:off x="3256023" y="2251004"/>
              <a:ext cx="379092" cy="1329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endParaRPr>
            </a:p>
          </p:txBody>
        </p:sp>
      </p:grpSp>
    </p:spTree>
    <p:extLst>
      <p:ext uri="{BB962C8B-B14F-4D97-AF65-F5344CB8AC3E}">
        <p14:creationId xmlns:p14="http://schemas.microsoft.com/office/powerpoint/2010/main" val="1865044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3F0854-8A8B-4245-93C2-6013FEBD52B3}"/>
              </a:ext>
            </a:extLst>
          </p:cNvPr>
          <p:cNvSpPr>
            <a:spLocks noGrp="1"/>
          </p:cNvSpPr>
          <p:nvPr>
            <p:ph type="title"/>
          </p:nvPr>
        </p:nvSpPr>
        <p:spPr>
          <a:xfrm>
            <a:off x="747712" y="2516804"/>
            <a:ext cx="4581525" cy="1142497"/>
          </a:xfrm>
        </p:spPr>
        <p:txBody>
          <a:bodyPr/>
          <a:lstStyle/>
          <a:p>
            <a:pPr>
              <a:lnSpc>
                <a:spcPct val="100000"/>
              </a:lnSpc>
            </a:pPr>
            <a:r>
              <a:rPr lang="en-US" dirty="0"/>
              <a:t>The Importance of Testing: Caring Enough to Find Out </a:t>
            </a:r>
          </a:p>
        </p:txBody>
      </p:sp>
      <p:pic>
        <p:nvPicPr>
          <p:cNvPr id="3" name="Picture Placeholder 2" descr="A person showing a child something on a paper&#10;&#10;Description automatically generated with low confidence">
            <a:extLst>
              <a:ext uri="{FF2B5EF4-FFF2-40B4-BE49-F238E27FC236}">
                <a16:creationId xmlns:a16="http://schemas.microsoft.com/office/drawing/2014/main" id="{975B3FBA-D669-E9B5-0637-0D871F32AB32}"/>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a:xfrm>
            <a:off x="6862764" y="-2"/>
            <a:ext cx="5329236" cy="6858001"/>
          </a:xfrm>
        </p:spPr>
      </p:pic>
    </p:spTree>
    <p:extLst>
      <p:ext uri="{BB962C8B-B14F-4D97-AF65-F5344CB8AC3E}">
        <p14:creationId xmlns:p14="http://schemas.microsoft.com/office/powerpoint/2010/main" val="2168164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4B0680-AFF9-C77E-FA28-68503CDB539F}"/>
              </a:ext>
            </a:extLst>
          </p:cNvPr>
          <p:cNvSpPr>
            <a:spLocks noGrp="1"/>
          </p:cNvSpPr>
          <p:nvPr>
            <p:ph type="title"/>
          </p:nvPr>
        </p:nvSpPr>
        <p:spPr>
          <a:xfrm>
            <a:off x="766763" y="1095003"/>
            <a:ext cx="5329237" cy="989595"/>
          </a:xfrm>
        </p:spPr>
        <p:txBody>
          <a:bodyPr/>
          <a:lstStyle/>
          <a:p>
            <a:r>
              <a:rPr lang="en-US" sz="2800" dirty="0"/>
              <a:t>The STAAR exam is: </a:t>
            </a:r>
          </a:p>
        </p:txBody>
      </p:sp>
      <p:sp>
        <p:nvSpPr>
          <p:cNvPr id="6" name="Text Placeholder 5">
            <a:extLst>
              <a:ext uri="{FF2B5EF4-FFF2-40B4-BE49-F238E27FC236}">
                <a16:creationId xmlns:a16="http://schemas.microsoft.com/office/drawing/2014/main" id="{398ED5BD-50FE-7984-F833-5985BE035BFB}"/>
              </a:ext>
            </a:extLst>
          </p:cNvPr>
          <p:cNvSpPr>
            <a:spLocks noGrp="1"/>
          </p:cNvSpPr>
          <p:nvPr>
            <p:ph type="body" sz="quarter" idx="11"/>
          </p:nvPr>
        </p:nvSpPr>
        <p:spPr>
          <a:xfrm>
            <a:off x="1135781" y="2075171"/>
            <a:ext cx="4960219" cy="4424097"/>
          </a:xfrm>
        </p:spPr>
        <p:txBody>
          <a:bodyPr/>
          <a:lstStyle/>
          <a:p>
            <a:pPr>
              <a:buFont typeface="Wingdings" pitchFamily="2" charset="2"/>
              <a:buChar char="ü"/>
            </a:pPr>
            <a:r>
              <a:rPr lang="en-US" sz="2400" dirty="0"/>
              <a:t>Valid</a:t>
            </a:r>
          </a:p>
          <a:p>
            <a:pPr>
              <a:buFont typeface="Wingdings" pitchFamily="2" charset="2"/>
              <a:buChar char="ü"/>
            </a:pPr>
            <a:r>
              <a:rPr lang="en-US" sz="2400" dirty="0"/>
              <a:t>Reliable</a:t>
            </a:r>
          </a:p>
          <a:p>
            <a:pPr>
              <a:buFont typeface="Wingdings" pitchFamily="2" charset="2"/>
              <a:buChar char="ü"/>
            </a:pPr>
            <a:r>
              <a:rPr lang="en-US" sz="2400" dirty="0"/>
              <a:t>Fair </a:t>
            </a:r>
          </a:p>
          <a:p>
            <a:pPr>
              <a:buFont typeface="Wingdings" pitchFamily="2" charset="2"/>
              <a:buChar char="ü"/>
            </a:pPr>
            <a:r>
              <a:rPr lang="en-US" sz="2400" dirty="0"/>
              <a:t>Comparable</a:t>
            </a:r>
          </a:p>
        </p:txBody>
      </p:sp>
      <p:sp>
        <p:nvSpPr>
          <p:cNvPr id="8" name="Title 3">
            <a:extLst>
              <a:ext uri="{FF2B5EF4-FFF2-40B4-BE49-F238E27FC236}">
                <a16:creationId xmlns:a16="http://schemas.microsoft.com/office/drawing/2014/main" id="{261E94A7-C66B-9BB2-A7E5-36675BE39697}"/>
              </a:ext>
            </a:extLst>
          </p:cNvPr>
          <p:cNvSpPr txBox="1">
            <a:spLocks/>
          </p:cNvSpPr>
          <p:nvPr/>
        </p:nvSpPr>
        <p:spPr>
          <a:xfrm>
            <a:off x="766763" y="4278605"/>
            <a:ext cx="5056471" cy="989595"/>
          </a:xfrm>
          <a:prstGeom prst="rect">
            <a:avLst/>
          </a:prstGeom>
        </p:spPr>
        <p:txBody>
          <a:bodyPr lIns="0" anchor="ctr"/>
          <a:lstStyle>
            <a:lvl1pPr algn="l" defTabSz="914400" rtl="0" eaLnBrk="1" latinLnBrk="0" hangingPunct="1">
              <a:lnSpc>
                <a:spcPct val="90000"/>
              </a:lnSpc>
              <a:spcBef>
                <a:spcPct val="0"/>
              </a:spcBef>
              <a:buNone/>
              <a:defRPr sz="3600" b="1" kern="1200">
                <a:solidFill>
                  <a:srgbClr val="FFFFFF"/>
                </a:solidFill>
                <a:latin typeface="+mj-lt"/>
                <a:ea typeface="+mj-ea"/>
                <a:cs typeface="+mj-cs"/>
              </a:defRPr>
            </a:lvl1pPr>
          </a:lstStyle>
          <a:p>
            <a:r>
              <a:rPr lang="en-US" sz="2400" b="0" dirty="0"/>
              <a:t>And it is an approved part of our state plan under the ESSA. </a:t>
            </a:r>
          </a:p>
          <a:p>
            <a:endParaRPr lang="en-US" sz="2400" b="0" dirty="0"/>
          </a:p>
          <a:p>
            <a:r>
              <a:rPr lang="en-US" sz="2400" b="0" dirty="0"/>
              <a:t>But what does this really mean? </a:t>
            </a:r>
          </a:p>
        </p:txBody>
      </p:sp>
      <p:pic>
        <p:nvPicPr>
          <p:cNvPr id="10" name="Picture Placeholder 9" descr="A person writing on a whiteboard&#10;&#10;Description automatically generated">
            <a:extLst>
              <a:ext uri="{FF2B5EF4-FFF2-40B4-BE49-F238E27FC236}">
                <a16:creationId xmlns:a16="http://schemas.microsoft.com/office/drawing/2014/main" id="{A1A04D38-A675-574F-56F2-911CA4F3513F}"/>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a:xfrm>
            <a:off x="6862763" y="0"/>
            <a:ext cx="5329237" cy="6858000"/>
          </a:xfrm>
          <a:prstGeom prst="rect">
            <a:avLst/>
          </a:prstGeom>
        </p:spPr>
      </p:pic>
    </p:spTree>
    <p:extLst>
      <p:ext uri="{BB962C8B-B14F-4D97-AF65-F5344CB8AC3E}">
        <p14:creationId xmlns:p14="http://schemas.microsoft.com/office/powerpoint/2010/main" val="3888797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NyYHCI3g6tyFNhDlrFk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zy866ngzuKal_O4xboW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SNnI5HV3AVnf3d0Ozy8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40nc9tCUsrsW2Dezzt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Ou6_42K3sn_Q.neNGRv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95KAh42jNZ8MCVqEd0Y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A_ZOUzI_6xCM0J8Rr2R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9W6G1UmnzDf9BLrOrnA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kFXJCQmo_lVqqJSB8Kq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otFu2qOx93JTNXD2Yli.Q"/>
</p:tagLst>
</file>

<file path=ppt/theme/theme1.xml><?xml version="1.0" encoding="utf-8"?>
<a:theme xmlns:a="http://schemas.openxmlformats.org/drawingml/2006/main" name="Office Theme">
  <a:themeElements>
    <a:clrScheme name="Texas 2036">
      <a:dk1>
        <a:srgbClr val="000000"/>
      </a:dk1>
      <a:lt1>
        <a:srgbClr val="FFFFFF"/>
      </a:lt1>
      <a:dk2>
        <a:srgbClr val="000000"/>
      </a:dk2>
      <a:lt2>
        <a:srgbClr val="FFFFFF"/>
      </a:lt2>
      <a:accent1>
        <a:srgbClr val="F26852"/>
      </a:accent1>
      <a:accent2>
        <a:srgbClr val="082567"/>
      </a:accent2>
      <a:accent3>
        <a:srgbClr val="00B0F0"/>
      </a:accent3>
      <a:accent4>
        <a:srgbClr val="D8D8D8"/>
      </a:accent4>
      <a:accent5>
        <a:srgbClr val="FFFF00"/>
      </a:accent5>
      <a:accent6>
        <a:srgbClr val="70AD47"/>
      </a:accent6>
      <a:hlink>
        <a:srgbClr val="0563C1"/>
      </a:hlink>
      <a:folHlink>
        <a:srgbClr val="954F72"/>
      </a:folHlink>
    </a:clrScheme>
    <a:fontScheme name="Office Theme">
      <a:majorFont>
        <a:latin typeface="Segoe ui"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Texas 2036">
      <a:dk1>
        <a:srgbClr val="000000"/>
      </a:dk1>
      <a:lt1>
        <a:srgbClr val="FFFFFF"/>
      </a:lt1>
      <a:dk2>
        <a:srgbClr val="000000"/>
      </a:dk2>
      <a:lt2>
        <a:srgbClr val="FFFFFF"/>
      </a:lt2>
      <a:accent1>
        <a:srgbClr val="F26852"/>
      </a:accent1>
      <a:accent2>
        <a:srgbClr val="082567"/>
      </a:accent2>
      <a:accent3>
        <a:srgbClr val="00B0F0"/>
      </a:accent3>
      <a:accent4>
        <a:srgbClr val="D8D8D8"/>
      </a:accent4>
      <a:accent5>
        <a:srgbClr val="FFFF00"/>
      </a:accent5>
      <a:accent6>
        <a:srgbClr val="70AD47"/>
      </a:accent6>
      <a:hlink>
        <a:srgbClr val="0563C1"/>
      </a:hlink>
      <a:folHlink>
        <a:srgbClr val="954F72"/>
      </a:folHlink>
    </a:clrScheme>
    <a:fontScheme name="Office Theme">
      <a:majorFont>
        <a:latin typeface="Segoe ui"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0642</TotalTime>
  <Words>1326</Words>
  <Application>Microsoft Macintosh PowerPoint</Application>
  <PresentationFormat>Widescreen</PresentationFormat>
  <Paragraphs>247</Paragraphs>
  <Slides>21</Slides>
  <Notes>1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4" baseType="lpstr">
      <vt:lpstr>Arial</vt:lpstr>
      <vt:lpstr>Calibri</vt:lpstr>
      <vt:lpstr>Calibri Light</vt:lpstr>
      <vt:lpstr>Courier New</vt:lpstr>
      <vt:lpstr>Segoe UI</vt:lpstr>
      <vt:lpstr>Segoe UI</vt:lpstr>
      <vt:lpstr>System Font Regular</vt:lpstr>
      <vt:lpstr>Wingdings</vt:lpstr>
      <vt:lpstr>Office Theme</vt:lpstr>
      <vt:lpstr>1_Office Theme</vt:lpstr>
      <vt:lpstr>2_Office Theme</vt:lpstr>
      <vt:lpstr>3_Office Theme</vt:lpstr>
      <vt:lpstr>think-cell Slide</vt:lpstr>
      <vt:lpstr>PowerPoint Presentation</vt:lpstr>
      <vt:lpstr>The Texas economy is an engine powered by out of state workers. </vt:lpstr>
      <vt:lpstr>How did we get here? </vt:lpstr>
      <vt:lpstr>PowerPoint Presentation</vt:lpstr>
      <vt:lpstr>PowerPoint Presentation</vt:lpstr>
      <vt:lpstr>PowerPoint Presentation</vt:lpstr>
      <vt:lpstr>PowerPoint Presentation</vt:lpstr>
      <vt:lpstr>The Importance of Testing: Caring Enough to Find Out </vt:lpstr>
      <vt:lpstr>The STAAR exam is: </vt:lpstr>
      <vt:lpstr>The STAAR is Valid, Reliable, Fair, and Comparable</vt:lpstr>
      <vt:lpstr>Texas Teachers Ensure The STAAR Exam Reflects Classroom Experience </vt:lpstr>
      <vt:lpstr>8th Grade Social Studies Texas Essential Knowledge and Skills Sample TEKS     (8.1) History. The student understands traditional historical points of reference in U.S. history through 1877. The student is expected to    (A) identify the major eras and events in U.S. history through 1877, including colonization, revolution, drafting of the Declaration of Independence, creation and ratification of the Constitution, religious revivals such as the Second Great Awakening, early republic, the Age of Jackson, westward expansion, reform movements, sectionalism, Civil War, and Reconstruction, and describe their causes and effects; Readiness Standard   </vt:lpstr>
      <vt:lpstr>PowerPoint Presentation</vt:lpstr>
      <vt:lpstr>PowerPoint Presentation</vt:lpstr>
      <vt:lpstr>PowerPoint Presentation</vt:lpstr>
      <vt:lpstr>PowerPoint Presentation</vt:lpstr>
      <vt:lpstr>APPENDIX</vt:lpstr>
      <vt:lpstr>PowerPoint Presentation</vt:lpstr>
      <vt:lpstr>Accountability Can Drive Results At Low-Performing School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el Shah</dc:creator>
  <cp:lastModifiedBy>Mary Lynn Pruenda</cp:lastModifiedBy>
  <cp:revision>38</cp:revision>
  <dcterms:created xsi:type="dcterms:W3CDTF">2022-07-11T08:49:32Z</dcterms:created>
  <dcterms:modified xsi:type="dcterms:W3CDTF">2022-08-11T20:47:42Z</dcterms:modified>
</cp:coreProperties>
</file>